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7"/>
  </p:notesMasterIdLst>
  <p:sldIdLst>
    <p:sldId id="372" r:id="rId5"/>
    <p:sldId id="377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226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1E75B0-6DC7-41CF-A20E-169EF16A6F0A}" type="datetimeFigureOut">
              <a:rPr lang="en-US" smtClean="0"/>
              <a:t>2/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812CB3-A0FB-4A9A-AC8A-9ECD3F81F5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56951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4016A9-880F-9449-8D56-82E3451D94B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201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0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280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6848" y="3000005"/>
            <a:ext cx="5693932" cy="1470025"/>
          </a:xfrm>
        </p:spPr>
        <p:txBody>
          <a:bodyPr/>
          <a:lstStyle>
            <a:lvl1pPr>
              <a:lnSpc>
                <a:spcPct val="90000"/>
              </a:lnSpc>
              <a:defRPr sz="48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6848" y="2572871"/>
            <a:ext cx="5693932" cy="355414"/>
          </a:xfrm>
        </p:spPr>
        <p:txBody>
          <a:bodyPr anchor="b"/>
          <a:lstStyle>
            <a:lvl1pPr marL="0" indent="0" algn="l">
              <a:buNone/>
              <a:defRPr sz="16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7FD6AE-5278-8944-9DF9-31F82340DC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6848" y="6146615"/>
            <a:ext cx="3742764" cy="36176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97DA1B58-A551-414E-B350-C67306A52E17}"/>
              </a:ext>
            </a:extLst>
          </p:cNvPr>
          <p:cNvSpPr/>
          <p:nvPr userDrawn="1"/>
        </p:nvSpPr>
        <p:spPr>
          <a:xfrm>
            <a:off x="8224602" y="443141"/>
            <a:ext cx="3967398" cy="6419088"/>
          </a:xfrm>
          <a:custGeom>
            <a:avLst/>
            <a:gdLst>
              <a:gd name="connsiteX0" fmla="*/ 1953679 w 3967398"/>
              <a:gd name="connsiteY0" fmla="*/ 541 h 6414861"/>
              <a:gd name="connsiteX1" fmla="*/ 3914468 w 3967398"/>
              <a:gd name="connsiteY1" fmla="*/ 224529 h 6414861"/>
              <a:gd name="connsiteX2" fmla="*/ 3967398 w 3967398"/>
              <a:gd name="connsiteY2" fmla="*/ 238601 h 6414861"/>
              <a:gd name="connsiteX3" fmla="*/ 3967398 w 3967398"/>
              <a:gd name="connsiteY3" fmla="*/ 2254306 h 6414861"/>
              <a:gd name="connsiteX4" fmla="*/ 3888997 w 3967398"/>
              <a:gd name="connsiteY4" fmla="*/ 2225855 h 6414861"/>
              <a:gd name="connsiteX5" fmla="*/ 2696125 w 3967398"/>
              <a:gd name="connsiteY5" fmla="*/ 1968976 h 6414861"/>
              <a:gd name="connsiteX6" fmla="*/ 2255543 w 3967398"/>
              <a:gd name="connsiteY6" fmla="*/ 1936718 h 6414861"/>
              <a:gd name="connsiteX7" fmla="*/ 2420933 w 3967398"/>
              <a:gd name="connsiteY7" fmla="*/ 2403127 h 6414861"/>
              <a:gd name="connsiteX8" fmla="*/ 3872391 w 3967398"/>
              <a:gd name="connsiteY8" fmla="*/ 4537938 h 6414861"/>
              <a:gd name="connsiteX9" fmla="*/ 3967398 w 3967398"/>
              <a:gd name="connsiteY9" fmla="*/ 4621319 h 6414861"/>
              <a:gd name="connsiteX10" fmla="*/ 3967398 w 3967398"/>
              <a:gd name="connsiteY10" fmla="*/ 6414861 h 6414861"/>
              <a:gd name="connsiteX11" fmla="*/ 3098097 w 3967398"/>
              <a:gd name="connsiteY11" fmla="*/ 6414861 h 6414861"/>
              <a:gd name="connsiteX12" fmla="*/ 3032469 w 3967398"/>
              <a:gd name="connsiteY12" fmla="*/ 6365236 h 6414861"/>
              <a:gd name="connsiteX13" fmla="*/ 118932 w 3967398"/>
              <a:gd name="connsiteY13" fmla="*/ 1153812 h 6414861"/>
              <a:gd name="connsiteX14" fmla="*/ 0 w 3967398"/>
              <a:gd name="connsiteY14" fmla="*/ 208468 h 6414861"/>
              <a:gd name="connsiteX15" fmla="*/ 943786 w 3967398"/>
              <a:gd name="connsiteY15" fmla="*/ 77039 h 6414861"/>
              <a:gd name="connsiteX16" fmla="*/ 1953679 w 3967398"/>
              <a:gd name="connsiteY16" fmla="*/ 541 h 6414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967398" h="6414861">
                <a:moveTo>
                  <a:pt x="1953679" y="541"/>
                </a:moveTo>
                <a:cubicBezTo>
                  <a:pt x="2622600" y="-7286"/>
                  <a:pt x="3280625" y="69947"/>
                  <a:pt x="3914468" y="224529"/>
                </a:cubicBezTo>
                <a:lnTo>
                  <a:pt x="3967398" y="238601"/>
                </a:lnTo>
                <a:lnTo>
                  <a:pt x="3967398" y="2254306"/>
                </a:lnTo>
                <a:lnTo>
                  <a:pt x="3888997" y="2225855"/>
                </a:lnTo>
                <a:cubicBezTo>
                  <a:pt x="3505061" y="2101000"/>
                  <a:pt x="3105732" y="2014173"/>
                  <a:pt x="2696125" y="1968976"/>
                </a:cubicBezTo>
                <a:cubicBezTo>
                  <a:pt x="2550488" y="1952906"/>
                  <a:pt x="2403550" y="1942101"/>
                  <a:pt x="2255543" y="1936718"/>
                </a:cubicBezTo>
                <a:cubicBezTo>
                  <a:pt x="2304417" y="2094320"/>
                  <a:pt x="2359549" y="2249791"/>
                  <a:pt x="2420933" y="2403127"/>
                </a:cubicBezTo>
                <a:cubicBezTo>
                  <a:pt x="2750220" y="3228461"/>
                  <a:pt x="3250619" y="3951739"/>
                  <a:pt x="3872391" y="4537938"/>
                </a:cubicBezTo>
                <a:lnTo>
                  <a:pt x="3967398" y="4621319"/>
                </a:lnTo>
                <a:lnTo>
                  <a:pt x="3967398" y="6414861"/>
                </a:lnTo>
                <a:lnTo>
                  <a:pt x="3098097" y="6414861"/>
                </a:lnTo>
                <a:lnTo>
                  <a:pt x="3032469" y="6365236"/>
                </a:lnTo>
                <a:cubicBezTo>
                  <a:pt x="1474534" y="5120134"/>
                  <a:pt x="382955" y="3289099"/>
                  <a:pt x="118932" y="1153812"/>
                </a:cubicBezTo>
                <a:lnTo>
                  <a:pt x="0" y="208468"/>
                </a:lnTo>
                <a:lnTo>
                  <a:pt x="943786" y="77039"/>
                </a:lnTo>
                <a:cubicBezTo>
                  <a:pt x="1282034" y="29633"/>
                  <a:pt x="1619219" y="4455"/>
                  <a:pt x="1953679" y="54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618FB304-5164-D14B-B8C9-DD0B9CD91DF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0798" y="1692397"/>
            <a:ext cx="5791202" cy="5165603"/>
          </a:xfrm>
          <a:custGeom>
            <a:avLst/>
            <a:gdLst>
              <a:gd name="connsiteX0" fmla="*/ 4195318 w 5791202"/>
              <a:gd name="connsiteY0" fmla="*/ 1225 h 5165603"/>
              <a:gd name="connsiteX1" fmla="*/ 5594852 w 5791202"/>
              <a:gd name="connsiteY1" fmla="*/ 105327 h 5165603"/>
              <a:gd name="connsiteX2" fmla="*/ 5791202 w 5791202"/>
              <a:gd name="connsiteY2" fmla="*/ 144511 h 5165603"/>
              <a:gd name="connsiteX3" fmla="*/ 5791202 w 5791202"/>
              <a:gd name="connsiteY3" fmla="*/ 5165603 h 5165603"/>
              <a:gd name="connsiteX4" fmla="*/ 3187555 w 5791202"/>
              <a:gd name="connsiteY4" fmla="*/ 5165603 h 5165603"/>
              <a:gd name="connsiteX5" fmla="*/ 3049139 w 5791202"/>
              <a:gd name="connsiteY5" fmla="*/ 5080478 h 5165603"/>
              <a:gd name="connsiteX6" fmla="*/ 1509456 w 5791202"/>
              <a:gd name="connsiteY6" fmla="*/ 3736041 h 5165603"/>
              <a:gd name="connsiteX7" fmla="*/ 412698 w 5791202"/>
              <a:gd name="connsiteY7" fmla="*/ 2106615 h 5165603"/>
              <a:gd name="connsiteX8" fmla="*/ 0 w 5791202"/>
              <a:gd name="connsiteY8" fmla="*/ 1282936 h 5165603"/>
              <a:gd name="connsiteX9" fmla="*/ 816823 w 5791202"/>
              <a:gd name="connsiteY9" fmla="*/ 859404 h 5165603"/>
              <a:gd name="connsiteX10" fmla="*/ 4195318 w 5791202"/>
              <a:gd name="connsiteY10" fmla="*/ 1225 h 516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1202" h="5165603">
                <a:moveTo>
                  <a:pt x="4195318" y="1225"/>
                </a:moveTo>
                <a:cubicBezTo>
                  <a:pt x="4665048" y="-7199"/>
                  <a:pt x="5133566" y="27880"/>
                  <a:pt x="5594852" y="105327"/>
                </a:cubicBezTo>
                <a:lnTo>
                  <a:pt x="5791202" y="144511"/>
                </a:lnTo>
                <a:lnTo>
                  <a:pt x="5791202" y="5165603"/>
                </a:lnTo>
                <a:lnTo>
                  <a:pt x="3187555" y="5165603"/>
                </a:lnTo>
                <a:lnTo>
                  <a:pt x="3049139" y="5080478"/>
                </a:lnTo>
                <a:cubicBezTo>
                  <a:pt x="2489059" y="4710128"/>
                  <a:pt x="1970238" y="4260923"/>
                  <a:pt x="1509456" y="3736041"/>
                </a:cubicBezTo>
                <a:cubicBezTo>
                  <a:pt x="1075694" y="3241799"/>
                  <a:pt x="706681" y="2693665"/>
                  <a:pt x="412698" y="2106615"/>
                </a:cubicBezTo>
                <a:lnTo>
                  <a:pt x="0" y="1282936"/>
                </a:lnTo>
                <a:lnTo>
                  <a:pt x="816823" y="859404"/>
                </a:lnTo>
                <a:cubicBezTo>
                  <a:pt x="1891615" y="302356"/>
                  <a:pt x="3047088" y="21818"/>
                  <a:pt x="4195318" y="12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22960">
            <a:noAutofit/>
          </a:bodyPr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54EC4F1-7821-8A41-9C8D-9227CF04D0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385" y="118436"/>
            <a:ext cx="3455150" cy="1406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3754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1F9ADB0-534D-5842-A792-388360F3BE8D}"/>
              </a:ext>
            </a:extLst>
          </p:cNvPr>
          <p:cNvSpPr/>
          <p:nvPr userDrawn="1"/>
        </p:nvSpPr>
        <p:spPr>
          <a:xfrm>
            <a:off x="0" y="3456113"/>
            <a:ext cx="12191695" cy="3401887"/>
          </a:xfrm>
          <a:prstGeom prst="rect">
            <a:avLst/>
          </a:prstGeom>
          <a:solidFill>
            <a:srgbClr val="00A2D7">
              <a:alpha val="1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EC16101-A3DB-B14F-A71D-1F9391F83A34}"/>
              </a:ext>
            </a:extLst>
          </p:cNvPr>
          <p:cNvSpPr/>
          <p:nvPr userDrawn="1"/>
        </p:nvSpPr>
        <p:spPr>
          <a:xfrm>
            <a:off x="305" y="3310065"/>
            <a:ext cx="12191695" cy="145279"/>
          </a:xfrm>
          <a:prstGeom prst="rect">
            <a:avLst/>
          </a:prstGeom>
          <a:solidFill>
            <a:srgbClr val="003D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E39868-2F9E-2F4F-9B41-033435E710F6}"/>
              </a:ext>
            </a:extLst>
          </p:cNvPr>
          <p:cNvSpPr/>
          <p:nvPr userDrawn="1"/>
        </p:nvSpPr>
        <p:spPr>
          <a:xfrm>
            <a:off x="10362895" y="3310065"/>
            <a:ext cx="1828800" cy="1463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685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861" y="1926250"/>
            <a:ext cx="9447008" cy="1362075"/>
          </a:xfrm>
        </p:spPr>
        <p:txBody>
          <a:bodyPr anchor="t"/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48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57575" y="1687387"/>
            <a:ext cx="9447007" cy="274031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4D45B1-4803-3E40-BDAA-F2FD7697B4B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3" y="6046968"/>
            <a:ext cx="1867069" cy="76016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FDE9ECC-9EDA-BC48-8B91-C597BE996EF0}"/>
              </a:ext>
            </a:extLst>
          </p:cNvPr>
          <p:cNvSpPr/>
          <p:nvPr userDrawn="1"/>
        </p:nvSpPr>
        <p:spPr>
          <a:xfrm>
            <a:off x="9910611" y="3310065"/>
            <a:ext cx="451979" cy="14476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2181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F9BF86-4AA5-D34D-B95B-24505291A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15580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F9BF86-4AA5-D34D-B95B-24505291A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7E015F-9457-D441-9FE4-62FEA08FC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90194"/>
            <a:ext cx="5181598" cy="927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EA883C0-79BE-DB42-B460-B65D1541E6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599" y="1600201"/>
            <a:ext cx="5181599" cy="45259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6FEB1349-0AFB-0348-8D9D-EB04C2862AA4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6757416" y="1225296"/>
            <a:ext cx="4912916" cy="491032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973375EA-8D96-5F4E-BFFD-C0C91BD0C05E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D2EBFF1E-CC6E-8F49-8F9E-B23D97BD6501}"/>
              </a:ext>
            </a:extLst>
          </p:cNvPr>
          <p:cNvSpPr/>
          <p:nvPr userDrawn="1"/>
        </p:nvSpPr>
        <p:spPr>
          <a:xfrm>
            <a:off x="0" y="5993295"/>
            <a:ext cx="216535" cy="86868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3436A86F-5152-AF4A-8B55-1F26392E55CA}"/>
              </a:ext>
            </a:extLst>
          </p:cNvPr>
          <p:cNvSpPr/>
          <p:nvPr userDrawn="1"/>
        </p:nvSpPr>
        <p:spPr>
          <a:xfrm>
            <a:off x="0" y="5748950"/>
            <a:ext cx="216535" cy="24037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151365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F9BF86-4AA5-D34D-B95B-24505291A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2617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F9BF86-4AA5-D34D-B95B-24505291A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1">
            <a:extLst>
              <a:ext uri="{FF2B5EF4-FFF2-40B4-BE49-F238E27FC236}">
                <a16:creationId xmlns:a16="http://schemas.microsoft.com/office/drawing/2014/main" id="{4DFC9483-94AE-2F4C-91B0-E27C64F2B56A}"/>
              </a:ext>
            </a:extLst>
          </p:cNvPr>
          <p:cNvSpPr/>
          <p:nvPr/>
        </p:nvSpPr>
        <p:spPr>
          <a:xfrm>
            <a:off x="8224602" y="443142"/>
            <a:ext cx="3967398" cy="6414861"/>
          </a:xfrm>
          <a:custGeom>
            <a:avLst/>
            <a:gdLst>
              <a:gd name="connsiteX0" fmla="*/ 1953679 w 3967398"/>
              <a:gd name="connsiteY0" fmla="*/ 541 h 6414861"/>
              <a:gd name="connsiteX1" fmla="*/ 3914468 w 3967398"/>
              <a:gd name="connsiteY1" fmla="*/ 224529 h 6414861"/>
              <a:gd name="connsiteX2" fmla="*/ 3967398 w 3967398"/>
              <a:gd name="connsiteY2" fmla="*/ 238601 h 6414861"/>
              <a:gd name="connsiteX3" fmla="*/ 3967398 w 3967398"/>
              <a:gd name="connsiteY3" fmla="*/ 2254306 h 6414861"/>
              <a:gd name="connsiteX4" fmla="*/ 3888997 w 3967398"/>
              <a:gd name="connsiteY4" fmla="*/ 2225855 h 6414861"/>
              <a:gd name="connsiteX5" fmla="*/ 2696125 w 3967398"/>
              <a:gd name="connsiteY5" fmla="*/ 1968976 h 6414861"/>
              <a:gd name="connsiteX6" fmla="*/ 2255543 w 3967398"/>
              <a:gd name="connsiteY6" fmla="*/ 1936718 h 6414861"/>
              <a:gd name="connsiteX7" fmla="*/ 2420933 w 3967398"/>
              <a:gd name="connsiteY7" fmla="*/ 2403127 h 6414861"/>
              <a:gd name="connsiteX8" fmla="*/ 3872391 w 3967398"/>
              <a:gd name="connsiteY8" fmla="*/ 4537938 h 6414861"/>
              <a:gd name="connsiteX9" fmla="*/ 3967398 w 3967398"/>
              <a:gd name="connsiteY9" fmla="*/ 4621319 h 6414861"/>
              <a:gd name="connsiteX10" fmla="*/ 3967398 w 3967398"/>
              <a:gd name="connsiteY10" fmla="*/ 6414861 h 6414861"/>
              <a:gd name="connsiteX11" fmla="*/ 3098097 w 3967398"/>
              <a:gd name="connsiteY11" fmla="*/ 6414861 h 6414861"/>
              <a:gd name="connsiteX12" fmla="*/ 3032469 w 3967398"/>
              <a:gd name="connsiteY12" fmla="*/ 6365236 h 6414861"/>
              <a:gd name="connsiteX13" fmla="*/ 118932 w 3967398"/>
              <a:gd name="connsiteY13" fmla="*/ 1153812 h 6414861"/>
              <a:gd name="connsiteX14" fmla="*/ 0 w 3967398"/>
              <a:gd name="connsiteY14" fmla="*/ 208468 h 6414861"/>
              <a:gd name="connsiteX15" fmla="*/ 943786 w 3967398"/>
              <a:gd name="connsiteY15" fmla="*/ 77039 h 6414861"/>
              <a:gd name="connsiteX16" fmla="*/ 1953679 w 3967398"/>
              <a:gd name="connsiteY16" fmla="*/ 541 h 6414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967398" h="6414861">
                <a:moveTo>
                  <a:pt x="1953679" y="541"/>
                </a:moveTo>
                <a:cubicBezTo>
                  <a:pt x="2622600" y="-7286"/>
                  <a:pt x="3280625" y="69947"/>
                  <a:pt x="3914468" y="224529"/>
                </a:cubicBezTo>
                <a:lnTo>
                  <a:pt x="3967398" y="238601"/>
                </a:lnTo>
                <a:lnTo>
                  <a:pt x="3967398" y="2254306"/>
                </a:lnTo>
                <a:lnTo>
                  <a:pt x="3888997" y="2225855"/>
                </a:lnTo>
                <a:cubicBezTo>
                  <a:pt x="3505061" y="2101000"/>
                  <a:pt x="3105732" y="2014173"/>
                  <a:pt x="2696125" y="1968976"/>
                </a:cubicBezTo>
                <a:cubicBezTo>
                  <a:pt x="2550488" y="1952906"/>
                  <a:pt x="2403550" y="1942101"/>
                  <a:pt x="2255543" y="1936718"/>
                </a:cubicBezTo>
                <a:cubicBezTo>
                  <a:pt x="2304417" y="2094320"/>
                  <a:pt x="2359549" y="2249791"/>
                  <a:pt x="2420933" y="2403127"/>
                </a:cubicBezTo>
                <a:cubicBezTo>
                  <a:pt x="2750220" y="3228461"/>
                  <a:pt x="3250619" y="3951739"/>
                  <a:pt x="3872391" y="4537938"/>
                </a:cubicBezTo>
                <a:lnTo>
                  <a:pt x="3967398" y="4621319"/>
                </a:lnTo>
                <a:lnTo>
                  <a:pt x="3967398" y="6414861"/>
                </a:lnTo>
                <a:lnTo>
                  <a:pt x="3098097" y="6414861"/>
                </a:lnTo>
                <a:lnTo>
                  <a:pt x="3032469" y="6365236"/>
                </a:lnTo>
                <a:cubicBezTo>
                  <a:pt x="1474534" y="5120134"/>
                  <a:pt x="382955" y="3289099"/>
                  <a:pt x="118932" y="1153812"/>
                </a:cubicBezTo>
                <a:lnTo>
                  <a:pt x="0" y="208468"/>
                </a:lnTo>
                <a:lnTo>
                  <a:pt x="943786" y="77039"/>
                </a:lnTo>
                <a:cubicBezTo>
                  <a:pt x="1282034" y="29633"/>
                  <a:pt x="1619219" y="4455"/>
                  <a:pt x="1953679" y="541"/>
                </a:cubicBezTo>
                <a:close/>
              </a:path>
            </a:pathLst>
          </a:custGeom>
          <a:solidFill>
            <a:srgbClr val="C4F1FF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7E015F-9457-D441-9FE4-62FEA08FCE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90194"/>
            <a:ext cx="5181598" cy="927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EA883C0-79BE-DB42-B460-B65D1541E6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599" y="1600201"/>
            <a:ext cx="5181599" cy="4525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3C76267-78F2-9749-8C4B-24C3FA156E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0798" y="1692397"/>
            <a:ext cx="5791202" cy="5165603"/>
          </a:xfrm>
          <a:custGeom>
            <a:avLst/>
            <a:gdLst>
              <a:gd name="connsiteX0" fmla="*/ 4195318 w 5791202"/>
              <a:gd name="connsiteY0" fmla="*/ 1225 h 5165603"/>
              <a:gd name="connsiteX1" fmla="*/ 5594852 w 5791202"/>
              <a:gd name="connsiteY1" fmla="*/ 105327 h 5165603"/>
              <a:gd name="connsiteX2" fmla="*/ 5791202 w 5791202"/>
              <a:gd name="connsiteY2" fmla="*/ 144511 h 5165603"/>
              <a:gd name="connsiteX3" fmla="*/ 5791202 w 5791202"/>
              <a:gd name="connsiteY3" fmla="*/ 5165603 h 5165603"/>
              <a:gd name="connsiteX4" fmla="*/ 3187555 w 5791202"/>
              <a:gd name="connsiteY4" fmla="*/ 5165603 h 5165603"/>
              <a:gd name="connsiteX5" fmla="*/ 3049139 w 5791202"/>
              <a:gd name="connsiteY5" fmla="*/ 5080478 h 5165603"/>
              <a:gd name="connsiteX6" fmla="*/ 1509456 w 5791202"/>
              <a:gd name="connsiteY6" fmla="*/ 3736041 h 5165603"/>
              <a:gd name="connsiteX7" fmla="*/ 412698 w 5791202"/>
              <a:gd name="connsiteY7" fmla="*/ 2106615 h 5165603"/>
              <a:gd name="connsiteX8" fmla="*/ 0 w 5791202"/>
              <a:gd name="connsiteY8" fmla="*/ 1282936 h 5165603"/>
              <a:gd name="connsiteX9" fmla="*/ 816823 w 5791202"/>
              <a:gd name="connsiteY9" fmla="*/ 859404 h 5165603"/>
              <a:gd name="connsiteX10" fmla="*/ 4195318 w 5791202"/>
              <a:gd name="connsiteY10" fmla="*/ 1225 h 516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1202" h="5165603">
                <a:moveTo>
                  <a:pt x="4195318" y="1225"/>
                </a:moveTo>
                <a:cubicBezTo>
                  <a:pt x="4665048" y="-7199"/>
                  <a:pt x="5133566" y="27880"/>
                  <a:pt x="5594852" y="105327"/>
                </a:cubicBezTo>
                <a:lnTo>
                  <a:pt x="5791202" y="144511"/>
                </a:lnTo>
                <a:lnTo>
                  <a:pt x="5791202" y="5165603"/>
                </a:lnTo>
                <a:lnTo>
                  <a:pt x="3187555" y="5165603"/>
                </a:lnTo>
                <a:lnTo>
                  <a:pt x="3049139" y="5080478"/>
                </a:lnTo>
                <a:cubicBezTo>
                  <a:pt x="2489059" y="4710128"/>
                  <a:pt x="1970238" y="4260923"/>
                  <a:pt x="1509456" y="3736041"/>
                </a:cubicBezTo>
                <a:cubicBezTo>
                  <a:pt x="1075694" y="3241799"/>
                  <a:pt x="706681" y="2693665"/>
                  <a:pt x="412698" y="2106615"/>
                </a:cubicBezTo>
                <a:lnTo>
                  <a:pt x="0" y="1282936"/>
                </a:lnTo>
                <a:lnTo>
                  <a:pt x="816823" y="859404"/>
                </a:lnTo>
                <a:cubicBezTo>
                  <a:pt x="1891615" y="302356"/>
                  <a:pt x="3047088" y="21818"/>
                  <a:pt x="4195318" y="12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22960">
            <a:noAutofit/>
          </a:bodyPr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5267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E26091A-0AC0-144F-9A4B-CD00054139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"/>
            <a:ext cx="4855464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65E4DF4-64F1-4049-91AA-134CCD6C3A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504326" y="1600201"/>
            <a:ext cx="6248401" cy="443752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0B77148-7C64-2C47-AAAE-A805CA46CA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4327" y="497945"/>
            <a:ext cx="6248402" cy="1062037"/>
          </a:xfrm>
        </p:spPr>
        <p:txBody>
          <a:bodyPr/>
          <a:lstStyle>
            <a:lvl1pPr>
              <a:defRPr sz="2800" b="1" i="0">
                <a:solidFill>
                  <a:srgbClr val="003DA5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9501506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 + TEXT BLOCK (V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00230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defRPr lang="uk-UA" sz="2800" b="1" i="0">
                <a:solidFill>
                  <a:srgbClr val="003DA5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97510"/>
            <a:ext cx="4867656" cy="45720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j-lt"/>
              </a:defRPr>
            </a:lvl1pPr>
            <a:lvl2pPr marL="182889" indent="-182889">
              <a:buFont typeface="Arial" panose="020B0604020202020204" pitchFamily="34" charset="0"/>
              <a:buChar char="•"/>
              <a:defRPr sz="1900"/>
            </a:lvl2pPr>
            <a:lvl3pPr marL="365778">
              <a:defRPr sz="1600"/>
            </a:lvl3pPr>
            <a:lvl4pPr marL="548667" indent="-182889">
              <a:defRPr sz="1300"/>
            </a:lvl4pPr>
            <a:lvl5pPr marL="731557"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0990E66-7967-AF44-82A5-3DE7DDE7FA2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482026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TEXT BLOCK_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00230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defRPr lang="uk-UA" sz="2800" b="1" i="0">
                <a:solidFill>
                  <a:srgbClr val="003DA5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97510"/>
            <a:ext cx="4867656" cy="45720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j-lt"/>
              </a:defRPr>
            </a:lvl1pPr>
            <a:lvl2pPr marL="182889" indent="-182889">
              <a:buFont typeface="Arial" panose="020B0604020202020204" pitchFamily="34" charset="0"/>
              <a:buChar char="•"/>
              <a:defRPr sz="1900"/>
            </a:lvl2pPr>
            <a:lvl3pPr marL="365778">
              <a:defRPr sz="1600"/>
            </a:lvl3pPr>
            <a:lvl4pPr marL="548667" indent="-182889">
              <a:defRPr sz="1300"/>
            </a:lvl4pPr>
            <a:lvl5pPr marL="731557"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97AF98-A3ED-9547-82E9-D2C2F51F491E}"/>
              </a:ext>
            </a:extLst>
          </p:cNvPr>
          <p:cNvSpPr/>
          <p:nvPr userDrawn="1"/>
        </p:nvSpPr>
        <p:spPr>
          <a:xfrm>
            <a:off x="6096000" y="0"/>
            <a:ext cx="6095695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3374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+ TEXT BLOCK_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>
            <a:extLst>
              <a:ext uri="{FF2B5EF4-FFF2-40B4-BE49-F238E27FC236}">
                <a16:creationId xmlns:a16="http://schemas.microsoft.com/office/drawing/2014/main" id="{2AC8BC53-D372-9340-AD3B-26E013270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500230"/>
            <a:ext cx="4867656" cy="60350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>
              <a:defRPr lang="uk-UA" sz="2800" b="1" i="0">
                <a:solidFill>
                  <a:srgbClr val="003DA5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uk-UA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CD03F7-4CD1-534A-83B5-50A176E7E6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5800" y="1597510"/>
            <a:ext cx="4867656" cy="4572000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j-lt"/>
              </a:defRPr>
            </a:lvl1pPr>
            <a:lvl2pPr marL="182889" indent="-182889">
              <a:buFont typeface="Arial" panose="020B0604020202020204" pitchFamily="34" charset="0"/>
              <a:buChar char="•"/>
              <a:defRPr sz="1900"/>
            </a:lvl2pPr>
            <a:lvl3pPr marL="365778">
              <a:defRPr sz="1600"/>
            </a:lvl3pPr>
            <a:lvl4pPr marL="548667" indent="-182889">
              <a:defRPr sz="1300"/>
            </a:lvl4pPr>
            <a:lvl5pPr marL="731557"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97AF98-A3ED-9547-82E9-D2C2F51F491E}"/>
              </a:ext>
            </a:extLst>
          </p:cNvPr>
          <p:cNvSpPr/>
          <p:nvPr userDrawn="1"/>
        </p:nvSpPr>
        <p:spPr>
          <a:xfrm>
            <a:off x="6096000" y="0"/>
            <a:ext cx="6095695" cy="6858000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9884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84185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609" y="1292469"/>
            <a:ext cx="8528783" cy="2593732"/>
          </a:xfrm>
        </p:spPr>
        <p:txBody>
          <a:bodyPr anchor="b"/>
          <a:lstStyle>
            <a:lvl1pPr algn="ctr">
              <a:defRPr sz="3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quo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BA214F-99F3-584E-8A09-ABC65E978ACD}"/>
              </a:ext>
            </a:extLst>
          </p:cNvPr>
          <p:cNvCxnSpPr>
            <a:cxnSpLocks/>
          </p:cNvCxnSpPr>
          <p:nvPr/>
        </p:nvCxnSpPr>
        <p:spPr>
          <a:xfrm>
            <a:off x="5867400" y="4264269"/>
            <a:ext cx="457200" cy="0"/>
          </a:xfrm>
          <a:prstGeom prst="line">
            <a:avLst/>
          </a:prstGeom>
          <a:ln w="381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1939" y="4378204"/>
            <a:ext cx="3048122" cy="8048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22165171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6030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609" y="1292469"/>
            <a:ext cx="8528783" cy="2593732"/>
          </a:xfrm>
        </p:spPr>
        <p:txBody>
          <a:bodyPr anchor="b"/>
          <a:lstStyle>
            <a:lvl1pPr algn="ctr">
              <a:defRPr sz="3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a quo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BA214F-99F3-584E-8A09-ABC65E978ACD}"/>
              </a:ext>
            </a:extLst>
          </p:cNvPr>
          <p:cNvCxnSpPr>
            <a:cxnSpLocks/>
          </p:cNvCxnSpPr>
          <p:nvPr/>
        </p:nvCxnSpPr>
        <p:spPr>
          <a:xfrm>
            <a:off x="5867400" y="4264269"/>
            <a:ext cx="457200" cy="0"/>
          </a:xfrm>
          <a:prstGeom prst="line">
            <a:avLst/>
          </a:prstGeom>
          <a:ln w="381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1939" y="4378204"/>
            <a:ext cx="3048122" cy="8048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bg1"/>
                </a:solidFill>
              </a:rPr>
              <a:t>| </a:t>
            </a:r>
            <a:fld id="{17719481-C555-E943-814E-BF2BA8FE344F}" type="slidenum">
              <a:rPr lang="en-US" sz="1000" smtClean="0">
                <a:solidFill>
                  <a:schemeClr val="bg1"/>
                </a:solidFill>
              </a:rPr>
              <a:pPr algn="r"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CC06B23-D46A-0942-AE8C-0CA05FEF279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2" y="6046968"/>
            <a:ext cx="1867071" cy="76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3291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Light Blue">
    <p:bg>
      <p:bgPr>
        <a:solidFill>
          <a:schemeClr val="accent2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81933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609" y="1292469"/>
            <a:ext cx="8528783" cy="2593732"/>
          </a:xfrm>
        </p:spPr>
        <p:txBody>
          <a:bodyPr anchor="b"/>
          <a:lstStyle>
            <a:lvl1pPr algn="ctr">
              <a:defRPr sz="3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quo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BA214F-99F3-584E-8A09-ABC65E978ACD}"/>
              </a:ext>
            </a:extLst>
          </p:cNvPr>
          <p:cNvCxnSpPr>
            <a:cxnSpLocks/>
          </p:cNvCxnSpPr>
          <p:nvPr/>
        </p:nvCxnSpPr>
        <p:spPr>
          <a:xfrm>
            <a:off x="5867400" y="4264269"/>
            <a:ext cx="457200" cy="0"/>
          </a:xfrm>
          <a:prstGeom prst="line">
            <a:avLst/>
          </a:prstGeom>
          <a:ln w="381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1939" y="4378204"/>
            <a:ext cx="3048122" cy="8048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rgbClr val="00A2D7"/>
                </a:solidFill>
              </a:rPr>
              <a:t>| </a:t>
            </a:r>
            <a:fld id="{17719481-C555-E943-814E-BF2BA8FE344F}" type="slidenum">
              <a:rPr lang="en-US" sz="1000" smtClean="0">
                <a:solidFill>
                  <a:schemeClr val="tx2"/>
                </a:solidFill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644497A-0BAD-1344-8B3F-22CFCF7A387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2" y="6046968"/>
            <a:ext cx="1867071" cy="760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938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3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677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6848" y="3000005"/>
            <a:ext cx="5791202" cy="1470025"/>
          </a:xfrm>
        </p:spPr>
        <p:txBody>
          <a:bodyPr/>
          <a:lstStyle>
            <a:lvl1pPr>
              <a:lnSpc>
                <a:spcPct val="90000"/>
              </a:lnSpc>
              <a:defRPr sz="48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6848" y="2572871"/>
            <a:ext cx="5791202" cy="355414"/>
          </a:xfrm>
        </p:spPr>
        <p:txBody>
          <a:bodyPr anchor="b"/>
          <a:lstStyle>
            <a:lvl1pPr marL="0" indent="0" algn="l">
              <a:buNone/>
              <a:defRPr sz="16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7FD6AE-5278-8944-9DF9-31F82340DC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6848" y="6146615"/>
            <a:ext cx="3742764" cy="36176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97DA1B58-A551-414E-B350-C67306A52E17}"/>
              </a:ext>
            </a:extLst>
          </p:cNvPr>
          <p:cNvSpPr/>
          <p:nvPr userDrawn="1"/>
        </p:nvSpPr>
        <p:spPr>
          <a:xfrm>
            <a:off x="8224602" y="443141"/>
            <a:ext cx="3967398" cy="6419088"/>
          </a:xfrm>
          <a:custGeom>
            <a:avLst/>
            <a:gdLst>
              <a:gd name="connsiteX0" fmla="*/ 1953679 w 3967398"/>
              <a:gd name="connsiteY0" fmla="*/ 541 h 6414861"/>
              <a:gd name="connsiteX1" fmla="*/ 3914468 w 3967398"/>
              <a:gd name="connsiteY1" fmla="*/ 224529 h 6414861"/>
              <a:gd name="connsiteX2" fmla="*/ 3967398 w 3967398"/>
              <a:gd name="connsiteY2" fmla="*/ 238601 h 6414861"/>
              <a:gd name="connsiteX3" fmla="*/ 3967398 w 3967398"/>
              <a:gd name="connsiteY3" fmla="*/ 2254306 h 6414861"/>
              <a:gd name="connsiteX4" fmla="*/ 3888997 w 3967398"/>
              <a:gd name="connsiteY4" fmla="*/ 2225855 h 6414861"/>
              <a:gd name="connsiteX5" fmla="*/ 2696125 w 3967398"/>
              <a:gd name="connsiteY5" fmla="*/ 1968976 h 6414861"/>
              <a:gd name="connsiteX6" fmla="*/ 2255543 w 3967398"/>
              <a:gd name="connsiteY6" fmla="*/ 1936718 h 6414861"/>
              <a:gd name="connsiteX7" fmla="*/ 2420933 w 3967398"/>
              <a:gd name="connsiteY7" fmla="*/ 2403127 h 6414861"/>
              <a:gd name="connsiteX8" fmla="*/ 3872391 w 3967398"/>
              <a:gd name="connsiteY8" fmla="*/ 4537938 h 6414861"/>
              <a:gd name="connsiteX9" fmla="*/ 3967398 w 3967398"/>
              <a:gd name="connsiteY9" fmla="*/ 4621319 h 6414861"/>
              <a:gd name="connsiteX10" fmla="*/ 3967398 w 3967398"/>
              <a:gd name="connsiteY10" fmla="*/ 6414861 h 6414861"/>
              <a:gd name="connsiteX11" fmla="*/ 3098097 w 3967398"/>
              <a:gd name="connsiteY11" fmla="*/ 6414861 h 6414861"/>
              <a:gd name="connsiteX12" fmla="*/ 3032469 w 3967398"/>
              <a:gd name="connsiteY12" fmla="*/ 6365236 h 6414861"/>
              <a:gd name="connsiteX13" fmla="*/ 118932 w 3967398"/>
              <a:gd name="connsiteY13" fmla="*/ 1153812 h 6414861"/>
              <a:gd name="connsiteX14" fmla="*/ 0 w 3967398"/>
              <a:gd name="connsiteY14" fmla="*/ 208468 h 6414861"/>
              <a:gd name="connsiteX15" fmla="*/ 943786 w 3967398"/>
              <a:gd name="connsiteY15" fmla="*/ 77039 h 6414861"/>
              <a:gd name="connsiteX16" fmla="*/ 1953679 w 3967398"/>
              <a:gd name="connsiteY16" fmla="*/ 541 h 6414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967398" h="6414861">
                <a:moveTo>
                  <a:pt x="1953679" y="541"/>
                </a:moveTo>
                <a:cubicBezTo>
                  <a:pt x="2622600" y="-7286"/>
                  <a:pt x="3280625" y="69947"/>
                  <a:pt x="3914468" y="224529"/>
                </a:cubicBezTo>
                <a:lnTo>
                  <a:pt x="3967398" y="238601"/>
                </a:lnTo>
                <a:lnTo>
                  <a:pt x="3967398" y="2254306"/>
                </a:lnTo>
                <a:lnTo>
                  <a:pt x="3888997" y="2225855"/>
                </a:lnTo>
                <a:cubicBezTo>
                  <a:pt x="3505061" y="2101000"/>
                  <a:pt x="3105732" y="2014173"/>
                  <a:pt x="2696125" y="1968976"/>
                </a:cubicBezTo>
                <a:cubicBezTo>
                  <a:pt x="2550488" y="1952906"/>
                  <a:pt x="2403550" y="1942101"/>
                  <a:pt x="2255543" y="1936718"/>
                </a:cubicBezTo>
                <a:cubicBezTo>
                  <a:pt x="2304417" y="2094320"/>
                  <a:pt x="2359549" y="2249791"/>
                  <a:pt x="2420933" y="2403127"/>
                </a:cubicBezTo>
                <a:cubicBezTo>
                  <a:pt x="2750220" y="3228461"/>
                  <a:pt x="3250619" y="3951739"/>
                  <a:pt x="3872391" y="4537938"/>
                </a:cubicBezTo>
                <a:lnTo>
                  <a:pt x="3967398" y="4621319"/>
                </a:lnTo>
                <a:lnTo>
                  <a:pt x="3967398" y="6414861"/>
                </a:lnTo>
                <a:lnTo>
                  <a:pt x="3098097" y="6414861"/>
                </a:lnTo>
                <a:lnTo>
                  <a:pt x="3032469" y="6365236"/>
                </a:lnTo>
                <a:cubicBezTo>
                  <a:pt x="1474534" y="5120134"/>
                  <a:pt x="382955" y="3289099"/>
                  <a:pt x="118932" y="1153812"/>
                </a:cubicBezTo>
                <a:lnTo>
                  <a:pt x="0" y="208468"/>
                </a:lnTo>
                <a:lnTo>
                  <a:pt x="943786" y="77039"/>
                </a:lnTo>
                <a:cubicBezTo>
                  <a:pt x="1282034" y="29633"/>
                  <a:pt x="1619219" y="4455"/>
                  <a:pt x="1953679" y="541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Picture Placeholder 28">
            <a:extLst>
              <a:ext uri="{FF2B5EF4-FFF2-40B4-BE49-F238E27FC236}">
                <a16:creationId xmlns:a16="http://schemas.microsoft.com/office/drawing/2014/main" id="{618FB304-5164-D14B-B8C9-DD0B9CD91DF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400798" y="1692397"/>
            <a:ext cx="5791202" cy="5165603"/>
          </a:xfrm>
          <a:custGeom>
            <a:avLst/>
            <a:gdLst>
              <a:gd name="connsiteX0" fmla="*/ 4195318 w 5791202"/>
              <a:gd name="connsiteY0" fmla="*/ 1225 h 5165603"/>
              <a:gd name="connsiteX1" fmla="*/ 5594852 w 5791202"/>
              <a:gd name="connsiteY1" fmla="*/ 105327 h 5165603"/>
              <a:gd name="connsiteX2" fmla="*/ 5791202 w 5791202"/>
              <a:gd name="connsiteY2" fmla="*/ 144511 h 5165603"/>
              <a:gd name="connsiteX3" fmla="*/ 5791202 w 5791202"/>
              <a:gd name="connsiteY3" fmla="*/ 5165603 h 5165603"/>
              <a:gd name="connsiteX4" fmla="*/ 3187555 w 5791202"/>
              <a:gd name="connsiteY4" fmla="*/ 5165603 h 5165603"/>
              <a:gd name="connsiteX5" fmla="*/ 3049139 w 5791202"/>
              <a:gd name="connsiteY5" fmla="*/ 5080478 h 5165603"/>
              <a:gd name="connsiteX6" fmla="*/ 1509456 w 5791202"/>
              <a:gd name="connsiteY6" fmla="*/ 3736041 h 5165603"/>
              <a:gd name="connsiteX7" fmla="*/ 412698 w 5791202"/>
              <a:gd name="connsiteY7" fmla="*/ 2106615 h 5165603"/>
              <a:gd name="connsiteX8" fmla="*/ 0 w 5791202"/>
              <a:gd name="connsiteY8" fmla="*/ 1282936 h 5165603"/>
              <a:gd name="connsiteX9" fmla="*/ 816823 w 5791202"/>
              <a:gd name="connsiteY9" fmla="*/ 859404 h 5165603"/>
              <a:gd name="connsiteX10" fmla="*/ 4195318 w 5791202"/>
              <a:gd name="connsiteY10" fmla="*/ 1225 h 5165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791202" h="5165603">
                <a:moveTo>
                  <a:pt x="4195318" y="1225"/>
                </a:moveTo>
                <a:cubicBezTo>
                  <a:pt x="4665048" y="-7199"/>
                  <a:pt x="5133566" y="27880"/>
                  <a:pt x="5594852" y="105327"/>
                </a:cubicBezTo>
                <a:lnTo>
                  <a:pt x="5791202" y="144511"/>
                </a:lnTo>
                <a:lnTo>
                  <a:pt x="5791202" y="5165603"/>
                </a:lnTo>
                <a:lnTo>
                  <a:pt x="3187555" y="5165603"/>
                </a:lnTo>
                <a:lnTo>
                  <a:pt x="3049139" y="5080478"/>
                </a:lnTo>
                <a:cubicBezTo>
                  <a:pt x="2489059" y="4710128"/>
                  <a:pt x="1970238" y="4260923"/>
                  <a:pt x="1509456" y="3736041"/>
                </a:cubicBezTo>
                <a:cubicBezTo>
                  <a:pt x="1075694" y="3241799"/>
                  <a:pt x="706681" y="2693665"/>
                  <a:pt x="412698" y="2106615"/>
                </a:cubicBezTo>
                <a:lnTo>
                  <a:pt x="0" y="1282936"/>
                </a:lnTo>
                <a:lnTo>
                  <a:pt x="816823" y="859404"/>
                </a:lnTo>
                <a:cubicBezTo>
                  <a:pt x="1891615" y="302356"/>
                  <a:pt x="3047088" y="21818"/>
                  <a:pt x="4195318" y="122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822960">
            <a:noAutofit/>
          </a:bodyPr>
          <a:lstStyle>
            <a:lvl1pPr algn="ctr"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54EC4F1-7821-8A41-9C8D-9227CF04D0B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385" y="118436"/>
            <a:ext cx="3455150" cy="1406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0071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18A434-3800-A748-AC57-798E8D653E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2908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18A434-3800-A748-AC57-798E8D653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531F98B-1943-2748-91F0-5AF9E5D55A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31609" y="1292469"/>
            <a:ext cx="8528783" cy="2593732"/>
          </a:xfrm>
        </p:spPr>
        <p:txBody>
          <a:bodyPr anchor="b"/>
          <a:lstStyle>
            <a:lvl1pPr algn="ctr">
              <a:defRPr sz="3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quot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BA214F-99F3-584E-8A09-ABC65E978ACD}"/>
              </a:ext>
            </a:extLst>
          </p:cNvPr>
          <p:cNvCxnSpPr>
            <a:cxnSpLocks/>
          </p:cNvCxnSpPr>
          <p:nvPr/>
        </p:nvCxnSpPr>
        <p:spPr>
          <a:xfrm>
            <a:off x="5867400" y="4264269"/>
            <a:ext cx="457200" cy="0"/>
          </a:xfrm>
          <a:prstGeom prst="line">
            <a:avLst/>
          </a:prstGeom>
          <a:ln w="381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09FB328-C12E-4C4E-8CF2-FE671CE3C00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1939" y="4378204"/>
            <a:ext cx="3048122" cy="804862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sour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0C2131F-B45D-6741-9D29-AA5C5AEFDEC1}"/>
              </a:ext>
            </a:extLst>
          </p:cNvPr>
          <p:cNvSpPr txBox="1"/>
          <p:nvPr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chemeClr val="tx2"/>
                </a:solidFill>
              </a:rPr>
              <a:t>| </a:t>
            </a:r>
            <a:fld id="{17719481-C555-E943-814E-BF2BA8FE344F}" type="slidenum">
              <a:rPr lang="en-US" sz="1000" smtClean="0">
                <a:solidFill>
                  <a:schemeClr val="tx2"/>
                </a:solidFill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2" name="Picture 8">
            <a:extLst>
              <a:ext uri="{FF2B5EF4-FFF2-40B4-BE49-F238E27FC236}">
                <a16:creationId xmlns:a16="http://schemas.microsoft.com/office/drawing/2014/main" id="{27F8BC39-DB57-114B-BAC0-36DA029EB30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3" y="6046968"/>
            <a:ext cx="1867069" cy="76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831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with sid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object 5">
            <a:extLst>
              <a:ext uri="{FF2B5EF4-FFF2-40B4-BE49-F238E27FC236}">
                <a16:creationId xmlns:a16="http://schemas.microsoft.com/office/drawing/2014/main" id="{D6D76CA3-9995-AE4D-A343-DF506B9D2DD3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7" name="object 6">
            <a:extLst>
              <a:ext uri="{FF2B5EF4-FFF2-40B4-BE49-F238E27FC236}">
                <a16:creationId xmlns:a16="http://schemas.microsoft.com/office/drawing/2014/main" id="{A1B1314A-116F-2247-9EE4-26FECE64A7FB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F9A4787F-67FB-1648-90D8-2F5DE28ECD1A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81044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86095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46337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 BAR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34B382-E267-5E42-A102-AA4C01C925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365760"/>
            <a:ext cx="11137392" cy="60350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EC5CE7-5CC2-8641-95FC-A8C1863D999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87028" y="1463040"/>
            <a:ext cx="11137392" cy="4572000"/>
          </a:xfrm>
        </p:spPr>
        <p:txBody>
          <a:bodyPr/>
          <a:lstStyle>
            <a:lvl1pPr marL="0" indent="0">
              <a:buNone/>
              <a:defRPr sz="2400">
                <a:latin typeface="+mj-lt"/>
              </a:defRPr>
            </a:lvl1pPr>
            <a:lvl2pPr marL="182889" indent="-182889">
              <a:buClr>
                <a:srgbClr val="00A3D8"/>
              </a:buClr>
              <a:buFont typeface="Arial" panose="020B0604020202020204" pitchFamily="34" charset="0"/>
              <a:buChar char="•"/>
              <a:defRPr sz="1900"/>
            </a:lvl2pPr>
            <a:lvl3pPr marL="365778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3pPr>
            <a:lvl4pPr marL="548667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4pPr>
            <a:lvl5pPr marL="731557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5pPr>
            <a:lvl6pPr marL="914446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6pPr>
            <a:lvl7pPr marL="1097335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7pPr>
            <a:lvl8pPr marL="1280224" indent="-182889">
              <a:buClr>
                <a:srgbClr val="00A3D8"/>
              </a:buClr>
              <a:buFont typeface="Arial" panose="020B0604020202020204" pitchFamily="34" charset="0"/>
              <a:buChar char="•"/>
              <a:defRPr/>
            </a:lvl8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 </a:t>
            </a:r>
          </a:p>
          <a:p>
            <a:pPr lvl="1"/>
            <a:endParaRPr lang="en-US" dirty="0"/>
          </a:p>
          <a:p>
            <a:pPr lvl="0"/>
            <a:endParaRPr lang="en-US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AA855461-4C3B-C44C-B7FB-C4BD3AD652C6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23115A84-75BB-654A-8889-028AFD6DF14A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AFFBC42B-ABBA-BA41-AB3E-778BB81BE29C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527920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6FBD65BD-D531-0946-8424-7DC08B024F6E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061B13AD-757F-D149-920E-2154479CB03B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C6E0BA59-DB29-B745-B294-6F768D9783D9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479534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4A04DE-6399-454F-AFC2-D18BE1932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8825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4A04DE-6399-454F-AFC2-D18BE1932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181600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0" y="1600201"/>
            <a:ext cx="5181600" cy="4525963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object 5">
            <a:extLst>
              <a:ext uri="{FF2B5EF4-FFF2-40B4-BE49-F238E27FC236}">
                <a16:creationId xmlns:a16="http://schemas.microsoft.com/office/drawing/2014/main" id="{81A40D09-F65A-5442-BB07-E451538FC041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38834FBC-A83F-9E42-A67B-CEA839DA87C3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CC3E78F5-5CC2-334D-9115-0F329A5C04C9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64583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A4D6767-F282-E248-A8EA-1162226F4F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0358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A4D6767-F282-E248-A8EA-1162226F4F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90194"/>
            <a:ext cx="10972800" cy="9274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393823"/>
            <a:ext cx="5184648" cy="51095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a subhea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277207"/>
            <a:ext cx="5184648" cy="384895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97752" y="1393823"/>
            <a:ext cx="5184648" cy="51095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a subhea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97752" y="2277207"/>
            <a:ext cx="5184648" cy="384895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AF5818C2-479E-F145-8651-2CD9E9A3D885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B7B4FD89-40DD-094D-B18E-04B650B5EE4C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1BEAC4BB-7AAC-8D41-9BCF-552D7CEDC9BF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84209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4A04DE-6399-454F-AFC2-D18BE19326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304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4A04DE-6399-454F-AFC2-D18BE1932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90194"/>
            <a:ext cx="10972800" cy="9274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599" y="1600201"/>
            <a:ext cx="329184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50080" y="1600201"/>
            <a:ext cx="329184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50FC09F-6039-F14B-B7C1-8D179271AAED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290560" y="1600201"/>
            <a:ext cx="3291840" cy="452596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object 5">
            <a:extLst>
              <a:ext uri="{FF2B5EF4-FFF2-40B4-BE49-F238E27FC236}">
                <a16:creationId xmlns:a16="http://schemas.microsoft.com/office/drawing/2014/main" id="{3079CA21-C35F-334F-94E4-39E5C1261471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3" name="object 6">
            <a:extLst>
              <a:ext uri="{FF2B5EF4-FFF2-40B4-BE49-F238E27FC236}">
                <a16:creationId xmlns:a16="http://schemas.microsoft.com/office/drawing/2014/main" id="{1B8D90AB-B2E6-5548-BFDA-F1F66DCDEB98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662408B8-4BE5-5D48-8D9B-605130D3ADD5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309609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- 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CE69F91-1C2B-2B40-BBC7-62B4E4AA0BE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85800" y="1536805"/>
            <a:ext cx="1168401" cy="1010469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E126BDFA-0B7C-C04E-9B57-456717EB7F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5800" y="3194216"/>
            <a:ext cx="1168401" cy="1010469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E2008D3C-3301-F544-B898-B5FBF3B5B32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5800" y="4864432"/>
            <a:ext cx="1168401" cy="1010469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242501" y="3194216"/>
            <a:ext cx="9580691" cy="10107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F2D01EC0-CF3D-884D-955B-D769EC9BE71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42502" y="1536805"/>
            <a:ext cx="9580538" cy="10107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C29B03AD-D8C3-264C-A8DF-4C1A85127B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42501" y="4864432"/>
            <a:ext cx="9580726" cy="1010708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6233335-B7F9-384B-9453-CE82C9BDC8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D8FE754-4BF0-5741-AB02-723D411EADA7}"/>
              </a:ext>
            </a:extLst>
          </p:cNvPr>
          <p:cNvCxnSpPr>
            <a:cxnSpLocks/>
          </p:cNvCxnSpPr>
          <p:nvPr userDrawn="1"/>
        </p:nvCxnSpPr>
        <p:spPr>
          <a:xfrm>
            <a:off x="2049798" y="1536805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FF99594-D132-B343-B1ED-BFD0B028036A}"/>
              </a:ext>
            </a:extLst>
          </p:cNvPr>
          <p:cNvCxnSpPr>
            <a:cxnSpLocks/>
          </p:cNvCxnSpPr>
          <p:nvPr userDrawn="1"/>
        </p:nvCxnSpPr>
        <p:spPr>
          <a:xfrm>
            <a:off x="2049798" y="3194216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8E595E7-841F-E14B-B7F8-1C2A953E7270}"/>
              </a:ext>
            </a:extLst>
          </p:cNvPr>
          <p:cNvCxnSpPr>
            <a:cxnSpLocks/>
          </p:cNvCxnSpPr>
          <p:nvPr userDrawn="1"/>
        </p:nvCxnSpPr>
        <p:spPr>
          <a:xfrm>
            <a:off x="2049798" y="4864432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ject 5">
            <a:extLst>
              <a:ext uri="{FF2B5EF4-FFF2-40B4-BE49-F238E27FC236}">
                <a16:creationId xmlns:a16="http://schemas.microsoft.com/office/drawing/2014/main" id="{25F60C9D-750B-D64D-A0F6-2BADCCAA2BA8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ADC88503-969C-6D4A-B807-E0B491A03271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6">
            <a:extLst>
              <a:ext uri="{FF2B5EF4-FFF2-40B4-BE49-F238E27FC236}">
                <a16:creationId xmlns:a16="http://schemas.microsoft.com/office/drawing/2014/main" id="{D04A27E6-A65B-074E-8E6D-7BCF71CED897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679240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51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B127BBD-B12A-BD48-8970-DBB7D36F613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009606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6B0767B-B403-3347-A202-74546EBEEE8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6848" y="5344488"/>
            <a:ext cx="7593106" cy="1189147"/>
          </a:xfrm>
        </p:spPr>
        <p:txBody>
          <a:bodyPr anchor="ctr"/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800"/>
            </a:lvl1pPr>
          </a:lstStyle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F101089-3A25-8D46-99B9-DC0649D55A8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8771772" y="5160499"/>
            <a:ext cx="3459660" cy="1408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505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AKER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A140E-C3B9-7249-8B71-09A343E86A9A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12"/>
          <p:cNvSpPr>
            <a:spLocks noGrp="1"/>
          </p:cNvSpPr>
          <p:nvPr userDrawn="1">
            <p:ph type="pic" sz="quarter" idx="11"/>
          </p:nvPr>
        </p:nvSpPr>
        <p:spPr>
          <a:xfrm>
            <a:off x="3586599" y="192846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Click icon to add pictur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85BD6-1A03-1946-9B62-D5C7E43C47B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2916959" y="3748997"/>
            <a:ext cx="2961276" cy="1599243"/>
          </a:xfrm>
        </p:spPr>
        <p:txBody>
          <a:bodyPr/>
          <a:lstStyle>
            <a:lvl1pPr algn="ctr"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2000">
                <a:latin typeface="+mj-lt"/>
              </a:defRPr>
            </a:lvl2pPr>
            <a:lvl3pPr marL="6350" indent="0" algn="ctr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sp>
        <p:nvSpPr>
          <p:cNvPr id="10" name="Picture Placeholder 12"/>
          <p:cNvSpPr>
            <a:spLocks noGrp="1"/>
          </p:cNvSpPr>
          <p:nvPr userDrawn="1">
            <p:ph type="pic" sz="quarter" idx="12"/>
          </p:nvPr>
        </p:nvSpPr>
        <p:spPr>
          <a:xfrm>
            <a:off x="7302859" y="1928460"/>
            <a:ext cx="1633728" cy="163372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25400">
            <a:noFill/>
          </a:ln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Click icon to add picture</a:t>
            </a:r>
            <a:endParaRPr lang="uk-UA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1169706-2771-1342-BC54-D83D997E21A0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>
          <a:xfrm>
            <a:off x="6633219" y="3748997"/>
            <a:ext cx="2961276" cy="1599243"/>
          </a:xfrm>
        </p:spPr>
        <p:txBody>
          <a:bodyPr/>
          <a:lstStyle>
            <a:lvl1pPr algn="ctr">
              <a:defRPr sz="2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2000">
                <a:latin typeface="+mj-lt"/>
              </a:defRPr>
            </a:lvl2pPr>
            <a:lvl3pPr marL="6350" indent="0" algn="ctr">
              <a:buNone/>
              <a:tabLst/>
              <a:defRPr sz="1600"/>
            </a:lvl3pPr>
          </a:lstStyle>
          <a:p>
            <a:pPr lvl="0"/>
            <a:r>
              <a:rPr lang="en-US" dirty="0"/>
              <a:t>Name</a:t>
            </a:r>
          </a:p>
          <a:p>
            <a:pPr lvl="1"/>
            <a:r>
              <a:rPr lang="en-US" dirty="0"/>
              <a:t>Title</a:t>
            </a:r>
          </a:p>
          <a:p>
            <a:pPr lvl="2"/>
            <a:r>
              <a:rPr lang="en-US" dirty="0"/>
              <a:t>Brief bio copy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4057E94-6027-5F43-9122-3A86BB591F6A}"/>
              </a:ext>
            </a:extLst>
          </p:cNvPr>
          <p:cNvCxnSpPr>
            <a:cxnSpLocks/>
          </p:cNvCxnSpPr>
          <p:nvPr userDrawn="1"/>
        </p:nvCxnSpPr>
        <p:spPr>
          <a:xfrm>
            <a:off x="6251448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5">
            <a:extLst>
              <a:ext uri="{FF2B5EF4-FFF2-40B4-BE49-F238E27FC236}">
                <a16:creationId xmlns:a16="http://schemas.microsoft.com/office/drawing/2014/main" id="{C8BD7360-9FB5-2041-BD9A-0EB543A60B1A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95E86BDB-F923-5640-95CA-3C0108733E61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7704B3E0-9BBC-234D-ADCF-1D9DAA57E473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706602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96120" y="3303732"/>
            <a:ext cx="2733400" cy="190326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780CF7B0-EA2B-434F-9B2A-993AB472672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65116" y="1928460"/>
            <a:ext cx="1378759" cy="119239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>
            <a:cxnSpLocks/>
          </p:cNvCxnSpPr>
          <p:nvPr userDrawn="1"/>
        </p:nvCxnSpPr>
        <p:spPr>
          <a:xfrm>
            <a:off x="4495800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6F3059-5932-9748-B827-FFD1E51E05EE}"/>
              </a:ext>
            </a:extLst>
          </p:cNvPr>
          <p:cNvCxnSpPr>
            <a:cxnSpLocks/>
          </p:cNvCxnSpPr>
          <p:nvPr userDrawn="1"/>
        </p:nvCxnSpPr>
        <p:spPr>
          <a:xfrm>
            <a:off x="8001000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7">
            <a:extLst>
              <a:ext uri="{FF2B5EF4-FFF2-40B4-BE49-F238E27FC236}">
                <a16:creationId xmlns:a16="http://schemas.microsoft.com/office/drawing/2014/main" id="{203923EF-F6FC-6D49-81C9-69B119D8953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887796" y="3303732"/>
            <a:ext cx="2733400" cy="190326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61687008-83E4-FF44-8294-812BBEB14F0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6340" y="3303732"/>
            <a:ext cx="2733400" cy="1903267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073440" y="1928460"/>
            <a:ext cx="1378759" cy="119239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98DE8E23-BA0F-5448-8D1C-9F6A46562DB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58126" y="1928460"/>
            <a:ext cx="1378759" cy="1192393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object 5">
            <a:extLst>
              <a:ext uri="{FF2B5EF4-FFF2-40B4-BE49-F238E27FC236}">
                <a16:creationId xmlns:a16="http://schemas.microsoft.com/office/drawing/2014/main" id="{25970EFF-9E50-CA47-8DAA-D633487FA8D3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D34418D5-45D3-9242-855E-057CC1BC2BE5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6">
            <a:extLst>
              <a:ext uri="{FF2B5EF4-FFF2-40B4-BE49-F238E27FC236}">
                <a16:creationId xmlns:a16="http://schemas.microsoft.com/office/drawing/2014/main" id="{217CFB3C-6FD1-9147-AD7E-9D17D65925EC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25917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- 4 Columns with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3303732"/>
            <a:ext cx="2052099" cy="1903267"/>
          </a:xfrm>
        </p:spPr>
        <p:txBody>
          <a:bodyPr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6B34F5E-0220-E146-B13E-A1B31EEC62EA}"/>
              </a:ext>
            </a:extLst>
          </p:cNvPr>
          <p:cNvCxnSpPr>
            <a:cxnSpLocks/>
          </p:cNvCxnSpPr>
          <p:nvPr userDrawn="1"/>
        </p:nvCxnSpPr>
        <p:spPr>
          <a:xfrm>
            <a:off x="3237863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46512" y="1928461"/>
            <a:ext cx="1235474" cy="106847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8" name="Text Placeholder 27">
            <a:extLst>
              <a:ext uri="{FF2B5EF4-FFF2-40B4-BE49-F238E27FC236}">
                <a16:creationId xmlns:a16="http://schemas.microsoft.com/office/drawing/2014/main" id="{B7D12890-ED12-AA40-B7B0-84A4DA09257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610310" y="3303732"/>
            <a:ext cx="2052099" cy="1903267"/>
          </a:xfrm>
        </p:spPr>
        <p:txBody>
          <a:bodyPr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B13F09CB-1E40-A641-AB2E-7A71B33EED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018622" y="1928461"/>
            <a:ext cx="1235474" cy="106847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0E8FE06-E388-294B-B728-BE3FA36147B1}"/>
              </a:ext>
            </a:extLst>
          </p:cNvPr>
          <p:cNvCxnSpPr>
            <a:cxnSpLocks/>
          </p:cNvCxnSpPr>
          <p:nvPr userDrawn="1"/>
        </p:nvCxnSpPr>
        <p:spPr>
          <a:xfrm>
            <a:off x="6055708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27">
            <a:extLst>
              <a:ext uri="{FF2B5EF4-FFF2-40B4-BE49-F238E27FC236}">
                <a16:creationId xmlns:a16="http://schemas.microsoft.com/office/drawing/2014/main" id="{122A85D7-8C23-BC44-A5B6-BBE9BAA3E9E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28155" y="3303732"/>
            <a:ext cx="2052099" cy="1903267"/>
          </a:xfrm>
        </p:spPr>
        <p:txBody>
          <a:bodyPr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75C41EEB-07AE-AF48-A7D1-C54F9E96904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36467" y="1928461"/>
            <a:ext cx="1235474" cy="106847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803AB8DD-8A96-2B43-B7EF-5F1E06313EDC}"/>
              </a:ext>
            </a:extLst>
          </p:cNvPr>
          <p:cNvCxnSpPr>
            <a:cxnSpLocks/>
          </p:cNvCxnSpPr>
          <p:nvPr userDrawn="1"/>
        </p:nvCxnSpPr>
        <p:spPr>
          <a:xfrm>
            <a:off x="8854891" y="1828800"/>
            <a:ext cx="0" cy="342900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27">
            <a:extLst>
              <a:ext uri="{FF2B5EF4-FFF2-40B4-BE49-F238E27FC236}">
                <a16:creationId xmlns:a16="http://schemas.microsoft.com/office/drawing/2014/main" id="{FCB5E230-9DD3-524C-A68B-419C895597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227338" y="3303732"/>
            <a:ext cx="2052099" cy="1903267"/>
          </a:xfrm>
        </p:spPr>
        <p:txBody>
          <a:bodyPr/>
          <a:lstStyle>
            <a:lvl1pPr algn="ctr">
              <a:defRPr sz="20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C2F79DDA-1A69-654B-BB34-092D20E1E1C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635650" y="1928461"/>
            <a:ext cx="1235474" cy="1068476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AB8C989A-D318-8F45-B2F5-E65C4B41D362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8" name="object 6">
            <a:extLst>
              <a:ext uri="{FF2B5EF4-FFF2-40B4-BE49-F238E27FC236}">
                <a16:creationId xmlns:a16="http://schemas.microsoft.com/office/drawing/2014/main" id="{DBD8B058-7D5D-DA44-9C3C-D059ECF48019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27B6EA29-D2B3-1143-8CDB-E0E09CC7F4BF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433226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CONS - 4 VERTICAL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046A911-4395-A54C-B59C-C52ADEEAE3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2363933"/>
            <a:ext cx="2052099" cy="3427267"/>
          </a:xfrm>
        </p:spPr>
        <p:txBody>
          <a:bodyPr/>
          <a:lstStyle>
            <a:lvl1pPr marL="285750" indent="-285750" algn="l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1pPr>
            <a:lvl2pPr marL="285750" indent="-285750" algn="l">
              <a:buFont typeface="Arial" panose="020B0604020202020204" pitchFamily="34" charset="0"/>
              <a:buChar char="•"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F2048F1C-F2E1-6845-AE56-DA7D9FFCA30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5009" y="1295400"/>
            <a:ext cx="2075290" cy="838200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9" name="Picture Placeholder 2">
            <a:extLst>
              <a:ext uri="{FF2B5EF4-FFF2-40B4-BE49-F238E27FC236}">
                <a16:creationId xmlns:a16="http://schemas.microsoft.com/office/drawing/2014/main" id="{B13F09CB-1E40-A641-AB2E-7A71B33EED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10309" y="1295400"/>
            <a:ext cx="2052099" cy="838200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2" name="Picture Placeholder 2">
            <a:extLst>
              <a:ext uri="{FF2B5EF4-FFF2-40B4-BE49-F238E27FC236}">
                <a16:creationId xmlns:a16="http://schemas.microsoft.com/office/drawing/2014/main" id="{75C41EEB-07AE-AF48-A7D1-C54F9E96904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431468" y="1295400"/>
            <a:ext cx="2048786" cy="838200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5" name="Picture Placeholder 2">
            <a:extLst>
              <a:ext uri="{FF2B5EF4-FFF2-40B4-BE49-F238E27FC236}">
                <a16:creationId xmlns:a16="http://schemas.microsoft.com/office/drawing/2014/main" id="{C2F79DDA-1A69-654B-BB34-092D20E1E1CE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227337" y="1295400"/>
            <a:ext cx="2052099" cy="838200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ext Placeholder 27">
            <a:extLst>
              <a:ext uri="{FF2B5EF4-FFF2-40B4-BE49-F238E27FC236}">
                <a16:creationId xmlns:a16="http://schemas.microsoft.com/office/drawing/2014/main" id="{C6156865-5B3C-0449-89D2-6128236C579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631096" y="2363933"/>
            <a:ext cx="2052099" cy="3427267"/>
          </a:xfrm>
        </p:spPr>
        <p:txBody>
          <a:bodyPr/>
          <a:lstStyle>
            <a:lvl1pPr marL="285750" indent="-285750" algn="l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1pPr>
            <a:lvl2pPr marL="285750" indent="-285750" algn="l">
              <a:buFont typeface="Arial" panose="020B0604020202020204" pitchFamily="34" charset="0"/>
              <a:buChar char="•"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27">
            <a:extLst>
              <a:ext uri="{FF2B5EF4-FFF2-40B4-BE49-F238E27FC236}">
                <a16:creationId xmlns:a16="http://schemas.microsoft.com/office/drawing/2014/main" id="{A19A5554-351C-E748-AE01-736B4E92830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443870" y="2363933"/>
            <a:ext cx="2052099" cy="3427267"/>
          </a:xfrm>
        </p:spPr>
        <p:txBody>
          <a:bodyPr/>
          <a:lstStyle>
            <a:lvl1pPr marL="285750" indent="-285750" algn="l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1pPr>
            <a:lvl2pPr marL="285750" indent="-285750" algn="l">
              <a:buFont typeface="Arial" panose="020B0604020202020204" pitchFamily="34" charset="0"/>
              <a:buChar char="•"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27">
            <a:extLst>
              <a:ext uri="{FF2B5EF4-FFF2-40B4-BE49-F238E27FC236}">
                <a16:creationId xmlns:a16="http://schemas.microsoft.com/office/drawing/2014/main" id="{B0DCA751-DD98-704E-B9EF-BD1ED476F6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256644" y="2363933"/>
            <a:ext cx="2052099" cy="3427267"/>
          </a:xfrm>
        </p:spPr>
        <p:txBody>
          <a:bodyPr/>
          <a:lstStyle>
            <a:lvl1pPr marL="285750" indent="-285750" algn="l"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1pPr>
            <a:lvl2pPr marL="285750" indent="-285750" algn="l">
              <a:buFont typeface="Arial" panose="020B0604020202020204" pitchFamily="34" charset="0"/>
              <a:buChar char="•"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AEFC5BCA-3979-5743-B236-14DF7511D8FB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5C676FD3-8CF9-A144-8887-4D1F9C285204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6">
            <a:extLst>
              <a:ext uri="{FF2B5EF4-FFF2-40B4-BE49-F238E27FC236}">
                <a16:creationId xmlns:a16="http://schemas.microsoft.com/office/drawing/2014/main" id="{E437B30F-4F0B-354E-B806-5B9517B579DA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30104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ie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7">
            <a:extLst>
              <a:ext uri="{FF2B5EF4-FFF2-40B4-BE49-F238E27FC236}">
                <a16:creationId xmlns:a16="http://schemas.microsoft.com/office/drawing/2014/main" id="{38E99771-2EE7-3742-A848-DF68A2A26E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2501" y="1213891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8932F8-B25E-EF4B-90D6-83AAAF77FB03}"/>
              </a:ext>
            </a:extLst>
          </p:cNvPr>
          <p:cNvCxnSpPr>
            <a:cxnSpLocks/>
          </p:cNvCxnSpPr>
          <p:nvPr userDrawn="1"/>
        </p:nvCxnSpPr>
        <p:spPr>
          <a:xfrm>
            <a:off x="2049798" y="1213891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337DDD24-6186-4541-A78C-FB500FDEB59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85800" y="1213786"/>
            <a:ext cx="1168400" cy="1011238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Text Placeholder 27">
            <a:extLst>
              <a:ext uri="{FF2B5EF4-FFF2-40B4-BE49-F238E27FC236}">
                <a16:creationId xmlns:a16="http://schemas.microsoft.com/office/drawing/2014/main" id="{4753FF27-D0D4-D948-B852-6CBF4684833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2553" y="1213891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EE36691B-0E89-2645-BE3C-A3371167639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242501" y="2438505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B773ACC-1EC0-A84B-83C8-775F75E25018}"/>
              </a:ext>
            </a:extLst>
          </p:cNvPr>
          <p:cNvCxnSpPr>
            <a:cxnSpLocks/>
          </p:cNvCxnSpPr>
          <p:nvPr userDrawn="1"/>
        </p:nvCxnSpPr>
        <p:spPr>
          <a:xfrm>
            <a:off x="2049798" y="2438505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12C85B75-E2FA-8244-B577-FAD838AFDB3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85800" y="2438400"/>
            <a:ext cx="1168400" cy="1011238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9A6F45E9-68FD-AB49-A694-277D8DC42E8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32553" y="2438505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EFDA9869-A5D0-C54F-957F-C1FF326377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2501" y="3709416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C94EEF9-4A71-2842-AE48-F9673D799BC4}"/>
              </a:ext>
            </a:extLst>
          </p:cNvPr>
          <p:cNvCxnSpPr>
            <a:cxnSpLocks/>
          </p:cNvCxnSpPr>
          <p:nvPr userDrawn="1"/>
        </p:nvCxnSpPr>
        <p:spPr>
          <a:xfrm>
            <a:off x="2049798" y="3709416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0B644319-CFD5-D945-96D3-D53913BE932E}"/>
              </a:ext>
            </a:extLst>
          </p:cNvPr>
          <p:cNvSpPr>
            <a:spLocks noGrp="1"/>
          </p:cNvSpPr>
          <p:nvPr>
            <p:ph sz="quarter" idx="27" hasCustomPrompt="1"/>
          </p:nvPr>
        </p:nvSpPr>
        <p:spPr>
          <a:xfrm>
            <a:off x="685800" y="3709311"/>
            <a:ext cx="1168400" cy="1011238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7">
            <a:extLst>
              <a:ext uri="{FF2B5EF4-FFF2-40B4-BE49-F238E27FC236}">
                <a16:creationId xmlns:a16="http://schemas.microsoft.com/office/drawing/2014/main" id="{FEA5C548-22CC-1242-9ADF-7035CB02A1F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132553" y="3709416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 Placeholder 27">
            <a:extLst>
              <a:ext uri="{FF2B5EF4-FFF2-40B4-BE49-F238E27FC236}">
                <a16:creationId xmlns:a16="http://schemas.microsoft.com/office/drawing/2014/main" id="{DD812223-4F3B-8649-86A6-5C4DC376445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2501" y="4966358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6863BB8-DFA9-044E-9072-6709B487A365}"/>
              </a:ext>
            </a:extLst>
          </p:cNvPr>
          <p:cNvCxnSpPr>
            <a:cxnSpLocks/>
          </p:cNvCxnSpPr>
          <p:nvPr userDrawn="1"/>
        </p:nvCxnSpPr>
        <p:spPr>
          <a:xfrm>
            <a:off x="2049798" y="4966358"/>
            <a:ext cx="0" cy="1014984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E1643694-BB48-3943-A98B-C1D3958F31A1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85800" y="4966253"/>
            <a:ext cx="1168400" cy="1011238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4" name="Text Placeholder 27">
            <a:extLst>
              <a:ext uri="{FF2B5EF4-FFF2-40B4-BE49-F238E27FC236}">
                <a16:creationId xmlns:a16="http://schemas.microsoft.com/office/drawing/2014/main" id="{44A6D477-64D3-D84B-86BD-7CED018E621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32553" y="4966358"/>
            <a:ext cx="4691699" cy="1010708"/>
          </a:xfrm>
        </p:spPr>
        <p:txBody>
          <a:bodyPr anchor="ctr"/>
          <a:lstStyle>
            <a:lvl1pPr>
              <a:defRPr sz="18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C4DC451A-7D1B-7E42-A65B-49EC170D08B5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37" name="object 6">
            <a:extLst>
              <a:ext uri="{FF2B5EF4-FFF2-40B4-BE49-F238E27FC236}">
                <a16:creationId xmlns:a16="http://schemas.microsoft.com/office/drawing/2014/main" id="{B7E90A76-85BC-954D-B3F6-86DA910C0578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6">
            <a:extLst>
              <a:ext uri="{FF2B5EF4-FFF2-40B4-BE49-F238E27FC236}">
                <a16:creationId xmlns:a16="http://schemas.microsoft.com/office/drawing/2014/main" id="{71E62CAD-E50D-9E45-8D82-3D43CCE74BA9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51556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– 4 columns with bar o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C08C021-FF42-2548-BB13-95614621DEED}"/>
              </a:ext>
            </a:extLst>
          </p:cNvPr>
          <p:cNvSpPr/>
          <p:nvPr userDrawn="1"/>
        </p:nvSpPr>
        <p:spPr>
          <a:xfrm>
            <a:off x="1043330" y="1260366"/>
            <a:ext cx="2080870" cy="802088"/>
          </a:xfrm>
          <a:prstGeom prst="rect">
            <a:avLst/>
          </a:prstGeom>
          <a:solidFill>
            <a:srgbClr val="00A3D8">
              <a:alpha val="10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80C1DD3A-EAD2-CB40-87E1-231B47D5B788}"/>
              </a:ext>
            </a:extLst>
          </p:cNvPr>
          <p:cNvSpPr/>
          <p:nvPr userDrawn="1"/>
        </p:nvSpPr>
        <p:spPr>
          <a:xfrm>
            <a:off x="638859" y="1260366"/>
            <a:ext cx="808942" cy="8089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A3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97954ED-A038-C248-A349-E6230E31D8BB}"/>
              </a:ext>
            </a:extLst>
          </p:cNvPr>
          <p:cNvSpPr/>
          <p:nvPr userDrawn="1"/>
        </p:nvSpPr>
        <p:spPr>
          <a:xfrm>
            <a:off x="9684179" y="1260366"/>
            <a:ext cx="2080870" cy="802088"/>
          </a:xfrm>
          <a:prstGeom prst="rect">
            <a:avLst/>
          </a:prstGeom>
          <a:solidFill>
            <a:srgbClr val="00A3D8">
              <a:alpha val="10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29754988-720A-7B46-B18A-F812ED37234A}"/>
              </a:ext>
            </a:extLst>
          </p:cNvPr>
          <p:cNvSpPr/>
          <p:nvPr userDrawn="1"/>
        </p:nvSpPr>
        <p:spPr>
          <a:xfrm>
            <a:off x="9279708" y="1260366"/>
            <a:ext cx="808942" cy="8089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A3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45CAD03-6467-2349-8402-20721240C770}"/>
              </a:ext>
            </a:extLst>
          </p:cNvPr>
          <p:cNvSpPr/>
          <p:nvPr userDrawn="1"/>
        </p:nvSpPr>
        <p:spPr>
          <a:xfrm>
            <a:off x="6750817" y="1260366"/>
            <a:ext cx="2080870" cy="802088"/>
          </a:xfrm>
          <a:prstGeom prst="rect">
            <a:avLst/>
          </a:prstGeom>
          <a:solidFill>
            <a:srgbClr val="00A3D8">
              <a:alpha val="10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BC90C75B-13BF-8544-80D1-B579D9B34FC6}"/>
              </a:ext>
            </a:extLst>
          </p:cNvPr>
          <p:cNvSpPr/>
          <p:nvPr userDrawn="1"/>
        </p:nvSpPr>
        <p:spPr>
          <a:xfrm>
            <a:off x="6346346" y="1260366"/>
            <a:ext cx="808942" cy="8089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A3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9D69AD4-7B0B-FB4C-BA76-57CEC3169FBE}"/>
              </a:ext>
            </a:extLst>
          </p:cNvPr>
          <p:cNvSpPr/>
          <p:nvPr userDrawn="1"/>
        </p:nvSpPr>
        <p:spPr>
          <a:xfrm>
            <a:off x="3817455" y="1260366"/>
            <a:ext cx="2080870" cy="802088"/>
          </a:xfrm>
          <a:prstGeom prst="rect">
            <a:avLst/>
          </a:prstGeom>
          <a:solidFill>
            <a:srgbClr val="00A3D8">
              <a:alpha val="10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7776040A-B966-6741-8F98-88C37DAF07B6}"/>
              </a:ext>
            </a:extLst>
          </p:cNvPr>
          <p:cNvSpPr/>
          <p:nvPr userDrawn="1"/>
        </p:nvSpPr>
        <p:spPr>
          <a:xfrm>
            <a:off x="3446067" y="1260366"/>
            <a:ext cx="808942" cy="8089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A3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F0A66651-9518-F147-9927-701D962BBBD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234438" y="1281388"/>
            <a:ext cx="1417637" cy="770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2122B28-25C6-B745-9E4D-D45B2C23F98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10083" y="1281388"/>
            <a:ext cx="1417637" cy="770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67076B9B-D655-EB47-8A09-60F7269C434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432634" y="1281388"/>
            <a:ext cx="1417637" cy="770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0C9BC93-5148-0047-8985-B9D9ACB5A431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99396" y="1281388"/>
            <a:ext cx="1417637" cy="770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5A8C33-A8C8-234F-9E13-5A9D84B2B3FE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81051" y="2421442"/>
            <a:ext cx="2343150" cy="3176192"/>
          </a:xfrm>
        </p:spPr>
        <p:txBody>
          <a:bodyPr/>
          <a:lstStyle>
            <a:lvl1pPr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D3173538-AA86-6E46-A005-0E0166D26F3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560827" y="2421442"/>
            <a:ext cx="2343150" cy="3176192"/>
          </a:xfrm>
        </p:spPr>
        <p:txBody>
          <a:bodyPr/>
          <a:lstStyle>
            <a:lvl1pPr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C5DFBBC1-DB2D-1248-A512-97C058754BB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499099" y="2421442"/>
            <a:ext cx="2343150" cy="3176192"/>
          </a:xfrm>
        </p:spPr>
        <p:txBody>
          <a:bodyPr/>
          <a:lstStyle>
            <a:lvl1pPr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3EDED698-ACF9-6C4D-B84F-6DDA37C361D9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9425179" y="2421442"/>
            <a:ext cx="2343150" cy="3176192"/>
          </a:xfrm>
        </p:spPr>
        <p:txBody>
          <a:bodyPr/>
          <a:lstStyle>
            <a:lvl1pPr>
              <a:buClr>
                <a:schemeClr val="accent2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object 5">
            <a:extLst>
              <a:ext uri="{FF2B5EF4-FFF2-40B4-BE49-F238E27FC236}">
                <a16:creationId xmlns:a16="http://schemas.microsoft.com/office/drawing/2014/main" id="{BC490472-22E1-484A-ABEC-B59BBA5E9D7B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3DC64D78-10E3-944B-9A3B-36D2CA16B7D6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6">
            <a:extLst>
              <a:ext uri="{FF2B5EF4-FFF2-40B4-BE49-F238E27FC236}">
                <a16:creationId xmlns:a16="http://schemas.microsoft.com/office/drawing/2014/main" id="{E14D7BE6-967F-1949-9DFA-B1AB298E2DC0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66000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– 4 columns with bar o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FA7C1865-3D6A-524C-9A91-FC03A7F2C7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0A1764DE-A2A1-0A49-8841-4A863ED47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10310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875E623B-138D-1D4E-B124-1F2AF8721C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8155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384B44A7-AB8F-8C44-B25E-B85E06F66A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7338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3348FCD-D37A-CC48-8F49-D396072ABB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37345" y="2072775"/>
            <a:ext cx="1194737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DB10033-7CD1-1A4E-879A-E4740AE78E7C}"/>
              </a:ext>
            </a:extLst>
          </p:cNvPr>
          <p:cNvGrpSpPr/>
          <p:nvPr userDrawn="1"/>
        </p:nvGrpSpPr>
        <p:grpSpPr>
          <a:xfrm>
            <a:off x="6427959" y="2051681"/>
            <a:ext cx="2106441" cy="808942"/>
            <a:chOff x="6427959" y="2051681"/>
            <a:chExt cx="2106441" cy="808942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24278F74-1A7F-D445-880B-6B10D2E9E8B7}"/>
                </a:ext>
              </a:extLst>
            </p:cNvPr>
            <p:cNvSpPr/>
            <p:nvPr/>
          </p:nvSpPr>
          <p:spPr>
            <a:xfrm>
              <a:off x="6832430" y="2051681"/>
              <a:ext cx="1701970" cy="802088"/>
            </a:xfrm>
            <a:prstGeom prst="rect">
              <a:avLst/>
            </a:prstGeom>
            <a:solidFill>
              <a:srgbClr val="00A3D8">
                <a:alpha val="10000"/>
              </a:srgb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242C4908-68E7-1E47-ADC5-9278CCB3B1EE}"/>
                </a:ext>
              </a:extLst>
            </p:cNvPr>
            <p:cNvSpPr/>
            <p:nvPr/>
          </p:nvSpPr>
          <p:spPr>
            <a:xfrm>
              <a:off x="6427959" y="2051681"/>
              <a:ext cx="808942" cy="8089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B2E56A9-1F2C-3445-B136-A360FE78F163}"/>
              </a:ext>
            </a:extLst>
          </p:cNvPr>
          <p:cNvGrpSpPr/>
          <p:nvPr userDrawn="1"/>
        </p:nvGrpSpPr>
        <p:grpSpPr>
          <a:xfrm>
            <a:off x="9215547" y="2051681"/>
            <a:ext cx="2106441" cy="808942"/>
            <a:chOff x="6427959" y="2051681"/>
            <a:chExt cx="2106441" cy="808942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3BCD650C-149C-2B45-908B-08CD18C393C0}"/>
                </a:ext>
              </a:extLst>
            </p:cNvPr>
            <p:cNvSpPr/>
            <p:nvPr/>
          </p:nvSpPr>
          <p:spPr>
            <a:xfrm>
              <a:off x="6832430" y="2051681"/>
              <a:ext cx="1701970" cy="802088"/>
            </a:xfrm>
            <a:prstGeom prst="rect">
              <a:avLst/>
            </a:prstGeom>
            <a:solidFill>
              <a:srgbClr val="00A3D8">
                <a:alpha val="10000"/>
              </a:srgb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7AB75E6-19F2-BB4F-B4B1-D8954EF8064A}"/>
                </a:ext>
              </a:extLst>
            </p:cNvPr>
            <p:cNvSpPr/>
            <p:nvPr/>
          </p:nvSpPr>
          <p:spPr>
            <a:xfrm>
              <a:off x="6427959" y="2051681"/>
              <a:ext cx="808942" cy="8089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9D55D15-9CF8-9B45-B50F-1E8002A3763A}"/>
              </a:ext>
            </a:extLst>
          </p:cNvPr>
          <p:cNvGrpSpPr/>
          <p:nvPr userDrawn="1"/>
        </p:nvGrpSpPr>
        <p:grpSpPr>
          <a:xfrm>
            <a:off x="3616968" y="2051681"/>
            <a:ext cx="2106441" cy="808942"/>
            <a:chOff x="6427959" y="2051681"/>
            <a:chExt cx="2106441" cy="808942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491E067-1D54-2A42-9D82-D3B5AFB4C5D6}"/>
                </a:ext>
              </a:extLst>
            </p:cNvPr>
            <p:cNvSpPr/>
            <p:nvPr/>
          </p:nvSpPr>
          <p:spPr>
            <a:xfrm>
              <a:off x="6832430" y="2051681"/>
              <a:ext cx="1701970" cy="802088"/>
            </a:xfrm>
            <a:prstGeom prst="rect">
              <a:avLst/>
            </a:prstGeom>
            <a:solidFill>
              <a:srgbClr val="00A3D8">
                <a:alpha val="10000"/>
              </a:srgb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7716B695-9E2E-614A-B5C5-C6C786953761}"/>
                </a:ext>
              </a:extLst>
            </p:cNvPr>
            <p:cNvSpPr/>
            <p:nvPr/>
          </p:nvSpPr>
          <p:spPr>
            <a:xfrm>
              <a:off x="6427959" y="2051681"/>
              <a:ext cx="808942" cy="8089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B716DFB7-A03D-CA4B-87E0-067845E06441}"/>
              </a:ext>
            </a:extLst>
          </p:cNvPr>
          <p:cNvGrpSpPr/>
          <p:nvPr userDrawn="1"/>
        </p:nvGrpSpPr>
        <p:grpSpPr>
          <a:xfrm>
            <a:off x="825641" y="2051681"/>
            <a:ext cx="2106441" cy="808942"/>
            <a:chOff x="6427959" y="2051681"/>
            <a:chExt cx="2106441" cy="808942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D6710C2-F5DE-4C49-9069-9B8A1C44BC59}"/>
                </a:ext>
              </a:extLst>
            </p:cNvPr>
            <p:cNvSpPr/>
            <p:nvPr/>
          </p:nvSpPr>
          <p:spPr>
            <a:xfrm>
              <a:off x="6832430" y="2051681"/>
              <a:ext cx="1701970" cy="802088"/>
            </a:xfrm>
            <a:prstGeom prst="rect">
              <a:avLst/>
            </a:prstGeom>
            <a:solidFill>
              <a:srgbClr val="00A3D8">
                <a:alpha val="10000"/>
              </a:srgb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3670BAB8-FDE2-CC4B-B15E-0B3A2447696D}"/>
                </a:ext>
              </a:extLst>
            </p:cNvPr>
            <p:cNvSpPr/>
            <p:nvPr/>
          </p:nvSpPr>
          <p:spPr>
            <a:xfrm>
              <a:off x="6427959" y="2051681"/>
              <a:ext cx="808942" cy="8089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800">
                <a:solidFill>
                  <a:schemeClr val="tx1"/>
                </a:solidFill>
              </a:endParaRPr>
            </a:p>
          </p:txBody>
        </p:sp>
      </p:grp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32EE583-F14D-8E45-9FEE-F2A5347828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20263" y="2072775"/>
            <a:ext cx="1194737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DDBD5052-F042-354B-8B95-B79AB5E1208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334484" y="2072775"/>
            <a:ext cx="1194737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629F7FB8-864F-8842-8BD5-5EC2CA6F221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104317" y="2072775"/>
            <a:ext cx="1194737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20C03B1-1866-F644-9CAE-976AA5CFD745}"/>
              </a:ext>
            </a:extLst>
          </p:cNvPr>
          <p:cNvGrpSpPr/>
          <p:nvPr userDrawn="1"/>
        </p:nvGrpSpPr>
        <p:grpSpPr>
          <a:xfrm>
            <a:off x="3049704" y="2033260"/>
            <a:ext cx="425372" cy="864034"/>
            <a:chOff x="3049704" y="2009775"/>
            <a:chExt cx="425372" cy="864034"/>
          </a:xfrm>
        </p:grpSpPr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7D6CD005-05CB-4B4B-90C2-AEDD9B87E59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F7A8D948-A6DE-2E49-BE5B-5840C204555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AB6A5D3-3A59-1D43-97D4-DDDB835E6A23}"/>
              </a:ext>
            </a:extLst>
          </p:cNvPr>
          <p:cNvGrpSpPr/>
          <p:nvPr userDrawn="1"/>
        </p:nvGrpSpPr>
        <p:grpSpPr>
          <a:xfrm>
            <a:off x="5838075" y="2033260"/>
            <a:ext cx="425372" cy="864034"/>
            <a:chOff x="3049704" y="2009775"/>
            <a:chExt cx="425372" cy="864034"/>
          </a:xfrm>
        </p:grpSpPr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1207015B-FFCE-7B43-B487-CC7C1CD360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C4FADA7-7B96-7D40-8721-6B54B8374ED0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DE102C0-835D-A647-BA3A-8EF4DC6D6CCE}"/>
              </a:ext>
            </a:extLst>
          </p:cNvPr>
          <p:cNvGrpSpPr/>
          <p:nvPr userDrawn="1"/>
        </p:nvGrpSpPr>
        <p:grpSpPr>
          <a:xfrm>
            <a:off x="8626995" y="2033260"/>
            <a:ext cx="425372" cy="864034"/>
            <a:chOff x="3049704" y="2009775"/>
            <a:chExt cx="425372" cy="864034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BD02D43-F6BE-BC49-9413-4F48A5D7E7A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7E12A0A7-E949-1042-9A86-8E7EB8FD7AE1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object 5">
            <a:extLst>
              <a:ext uri="{FF2B5EF4-FFF2-40B4-BE49-F238E27FC236}">
                <a16:creationId xmlns:a16="http://schemas.microsoft.com/office/drawing/2014/main" id="{C3AA4F97-58A9-6848-818B-426E47116874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38" name="object 6">
            <a:extLst>
              <a:ext uri="{FF2B5EF4-FFF2-40B4-BE49-F238E27FC236}">
                <a16:creationId xmlns:a16="http://schemas.microsoft.com/office/drawing/2014/main" id="{FC1CE88D-B21A-6048-8CCB-762C9BF29A08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6">
            <a:extLst>
              <a:ext uri="{FF2B5EF4-FFF2-40B4-BE49-F238E27FC236}">
                <a16:creationId xmlns:a16="http://schemas.microsoft.com/office/drawing/2014/main" id="{952DF0C0-B8C4-6D4F-A227-CFC6F994BE97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88040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– 4 columns ar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2" name="Text Placeholder 27">
            <a:extLst>
              <a:ext uri="{FF2B5EF4-FFF2-40B4-BE49-F238E27FC236}">
                <a16:creationId xmlns:a16="http://schemas.microsoft.com/office/drawing/2014/main" id="{FA7C1865-3D6A-524C-9A91-FC03A7F2C7B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0A1764DE-A2A1-0A49-8841-4A863ED475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10310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4" name="Text Placeholder 27">
            <a:extLst>
              <a:ext uri="{FF2B5EF4-FFF2-40B4-BE49-F238E27FC236}">
                <a16:creationId xmlns:a16="http://schemas.microsoft.com/office/drawing/2014/main" id="{875E623B-138D-1D4E-B124-1F2AF8721C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28155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25" name="Text Placeholder 27">
            <a:extLst>
              <a:ext uri="{FF2B5EF4-FFF2-40B4-BE49-F238E27FC236}">
                <a16:creationId xmlns:a16="http://schemas.microsoft.com/office/drawing/2014/main" id="{384B44A7-AB8F-8C44-B25E-B85E06F66A6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27338" y="3303732"/>
            <a:ext cx="2052099" cy="1903267"/>
          </a:xfrm>
        </p:spPr>
        <p:txBody>
          <a:bodyPr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  <a:lvl2pPr marL="0" indent="0" algn="ctr">
              <a:buNone/>
              <a:defRPr sz="14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  <p:sp>
        <p:nvSpPr>
          <p:cNvPr id="31" name="Text Placeholder 15">
            <a:extLst>
              <a:ext uri="{FF2B5EF4-FFF2-40B4-BE49-F238E27FC236}">
                <a16:creationId xmlns:a16="http://schemas.microsoft.com/office/drawing/2014/main" id="{43348FCD-D37A-CC48-8F49-D396072ABBD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79985" y="2072775"/>
            <a:ext cx="2052098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7" name="Text Placeholder 15">
            <a:extLst>
              <a:ext uri="{FF2B5EF4-FFF2-40B4-BE49-F238E27FC236}">
                <a16:creationId xmlns:a16="http://schemas.microsoft.com/office/drawing/2014/main" id="{D32EE583-F14D-8E45-9FEE-F2A5347828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2903" y="2072775"/>
            <a:ext cx="2052098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8" name="Text Placeholder 15">
            <a:extLst>
              <a:ext uri="{FF2B5EF4-FFF2-40B4-BE49-F238E27FC236}">
                <a16:creationId xmlns:a16="http://schemas.microsoft.com/office/drawing/2014/main" id="{DDBD5052-F042-354B-8B95-B79AB5E1208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77124" y="2072775"/>
            <a:ext cx="2052098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9" name="Text Placeholder 15">
            <a:extLst>
              <a:ext uri="{FF2B5EF4-FFF2-40B4-BE49-F238E27FC236}">
                <a16:creationId xmlns:a16="http://schemas.microsoft.com/office/drawing/2014/main" id="{629F7FB8-864F-8842-8BD5-5EC2CA6F221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46957" y="2072775"/>
            <a:ext cx="2052098" cy="784421"/>
          </a:xfrm>
        </p:spPr>
        <p:txBody>
          <a:bodyPr anchor="ctr"/>
          <a:lstStyle>
            <a:lvl1pPr>
              <a:defRPr sz="1800" b="1">
                <a:solidFill>
                  <a:schemeClr val="tx2"/>
                </a:solidFill>
              </a:defRPr>
            </a:lvl1pPr>
            <a:lvl2pPr marL="0" indent="0">
              <a:buNone/>
              <a:defRPr sz="2000" b="1">
                <a:solidFill>
                  <a:srgbClr val="14345A"/>
                </a:solidFill>
              </a:defRPr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66A931-42A5-854D-89E1-6D6CEB349183}"/>
              </a:ext>
            </a:extLst>
          </p:cNvPr>
          <p:cNvGrpSpPr/>
          <p:nvPr userDrawn="1"/>
        </p:nvGrpSpPr>
        <p:grpSpPr>
          <a:xfrm>
            <a:off x="3049704" y="2033260"/>
            <a:ext cx="425372" cy="864034"/>
            <a:chOff x="3049704" y="2009775"/>
            <a:chExt cx="425372" cy="864034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DBE36349-8828-A14F-BF94-285981092AE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40F9CD52-4F8D-2B44-B3D6-A2DF1E8856A8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D304C24-B6BF-AC49-A70A-CAAB318154AB}"/>
              </a:ext>
            </a:extLst>
          </p:cNvPr>
          <p:cNvGrpSpPr/>
          <p:nvPr userDrawn="1"/>
        </p:nvGrpSpPr>
        <p:grpSpPr>
          <a:xfrm>
            <a:off x="5838075" y="2033260"/>
            <a:ext cx="425372" cy="864034"/>
            <a:chOff x="3049704" y="2009775"/>
            <a:chExt cx="425372" cy="864034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E047A9F-BB43-4D45-A572-24CFCC2942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96E9B5B9-63AC-284B-9D5C-05783D2094B3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F5F33E2C-DC4B-5847-AB87-E09D9872FE0A}"/>
              </a:ext>
            </a:extLst>
          </p:cNvPr>
          <p:cNvGrpSpPr/>
          <p:nvPr userDrawn="1"/>
        </p:nvGrpSpPr>
        <p:grpSpPr>
          <a:xfrm>
            <a:off x="8626995" y="2033260"/>
            <a:ext cx="425372" cy="864034"/>
            <a:chOff x="3049704" y="2009775"/>
            <a:chExt cx="425372" cy="864034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C6E70749-2691-7540-A38E-AED98FF8F83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3049704" y="2009775"/>
              <a:ext cx="425372" cy="431311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BAB8484-AEC5-374F-BC10-5A27BBB99B0C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3049704" y="2442684"/>
              <a:ext cx="421792" cy="431125"/>
            </a:xfrm>
            <a:prstGeom prst="line">
              <a:avLst/>
            </a:prstGeom>
            <a:ln w="38100" cap="rnd">
              <a:solidFill>
                <a:srgbClr val="00A2D7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object 5">
            <a:extLst>
              <a:ext uri="{FF2B5EF4-FFF2-40B4-BE49-F238E27FC236}">
                <a16:creationId xmlns:a16="http://schemas.microsoft.com/office/drawing/2014/main" id="{3A08E14A-C8B5-184C-AC51-3FD6CEAEDF53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74318A87-584C-4D43-A50B-E9E040BEB235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6">
            <a:extLst>
              <a:ext uri="{FF2B5EF4-FFF2-40B4-BE49-F238E27FC236}">
                <a16:creationId xmlns:a16="http://schemas.microsoft.com/office/drawing/2014/main" id="{732A964F-BAF8-9847-9BAB-F8F9E702A461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08533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– 6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2030C1-CF71-CF42-81D6-A238349500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27">
            <a:extLst>
              <a:ext uri="{FF2B5EF4-FFF2-40B4-BE49-F238E27FC236}">
                <a16:creationId xmlns:a16="http://schemas.microsoft.com/office/drawing/2014/main" id="{7CC704BF-BF3D-024D-B738-B65955F295D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19667" y="1447800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EE03D656-1E15-3047-9BA5-8C2AAB66615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85800" y="1451834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Text Placeholder 27">
            <a:extLst>
              <a:ext uri="{FF2B5EF4-FFF2-40B4-BE49-F238E27FC236}">
                <a16:creationId xmlns:a16="http://schemas.microsoft.com/office/drawing/2014/main" id="{E936429C-6FC6-6F41-AF70-D74F895D9BF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919667" y="4011376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F0654711-F4DC-1443-8364-88300A935AC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5800" y="4015410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Text Placeholder 27">
            <a:extLst>
              <a:ext uri="{FF2B5EF4-FFF2-40B4-BE49-F238E27FC236}">
                <a16:creationId xmlns:a16="http://schemas.microsoft.com/office/drawing/2014/main" id="{B6149113-83C5-F64D-A022-750A71D1716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65062" y="1447800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06FCDE7A-C97C-1D4C-A2B2-8147330CEB41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31195" y="1451834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0" name="Text Placeholder 27">
            <a:extLst>
              <a:ext uri="{FF2B5EF4-FFF2-40B4-BE49-F238E27FC236}">
                <a16:creationId xmlns:a16="http://schemas.microsoft.com/office/drawing/2014/main" id="{9B4FA79F-DB43-7B4F-96AB-0A3CE28D4F8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665062" y="4011376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D5557A05-C7B8-F14B-B327-469326E1984A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4431195" y="4015410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Text Placeholder 27">
            <a:extLst>
              <a:ext uri="{FF2B5EF4-FFF2-40B4-BE49-F238E27FC236}">
                <a16:creationId xmlns:a16="http://schemas.microsoft.com/office/drawing/2014/main" id="{93AA740E-8B56-954D-A466-9454A093C86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9383953" y="1447800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873A910-733F-8243-A144-6D1316E727D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150086" y="1451834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7">
            <a:extLst>
              <a:ext uri="{FF2B5EF4-FFF2-40B4-BE49-F238E27FC236}">
                <a16:creationId xmlns:a16="http://schemas.microsoft.com/office/drawing/2014/main" id="{7605D117-5C56-FB45-8A25-81E8F635DA3F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383953" y="4011376"/>
            <a:ext cx="2118934" cy="190903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 sz="160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CD08D36E-55B7-D04B-A0CA-59230B638F34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150086" y="4015410"/>
            <a:ext cx="1066800" cy="9906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object 5">
            <a:extLst>
              <a:ext uri="{FF2B5EF4-FFF2-40B4-BE49-F238E27FC236}">
                <a16:creationId xmlns:a16="http://schemas.microsoft.com/office/drawing/2014/main" id="{1757E121-C844-A642-BF70-E97032E32FF2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23" name="object 6">
            <a:extLst>
              <a:ext uri="{FF2B5EF4-FFF2-40B4-BE49-F238E27FC236}">
                <a16:creationId xmlns:a16="http://schemas.microsoft.com/office/drawing/2014/main" id="{FACA4512-595B-924A-B6C9-F22D20D696CC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6">
            <a:extLst>
              <a:ext uri="{FF2B5EF4-FFF2-40B4-BE49-F238E27FC236}">
                <a16:creationId xmlns:a16="http://schemas.microsoft.com/office/drawing/2014/main" id="{0F619909-69A4-3F45-AEF5-CFF834CBAF57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749845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4254290-7DE3-6B44-8595-33F864E076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5800" y="1828800"/>
            <a:ext cx="11137392" cy="3044952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object 5">
            <a:extLst>
              <a:ext uri="{FF2B5EF4-FFF2-40B4-BE49-F238E27FC236}">
                <a16:creationId xmlns:a16="http://schemas.microsoft.com/office/drawing/2014/main" id="{44288B6F-1162-3D41-8C83-9E9FD8A71BF6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8" name="object 6">
            <a:extLst>
              <a:ext uri="{FF2B5EF4-FFF2-40B4-BE49-F238E27FC236}">
                <a16:creationId xmlns:a16="http://schemas.microsoft.com/office/drawing/2014/main" id="{FC885EA3-FE61-C74E-AA09-9DB5593CBF67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14186FF2-CA67-1344-B005-5BB87EC4D1FC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4405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63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7FD6AE-5278-8944-9DF9-31F82340DC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6848" y="6146615"/>
            <a:ext cx="3742764" cy="36176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AB21D7B-59BA-C74B-943D-106B23520B7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226385" y="118436"/>
            <a:ext cx="3455150" cy="1406740"/>
          </a:xfrm>
          <a:prstGeom prst="rect">
            <a:avLst/>
          </a:prstGeom>
        </p:spPr>
      </p:pic>
      <p:sp>
        <p:nvSpPr>
          <p:cNvPr id="8" name="Picture Placeholder 12">
            <a:extLst>
              <a:ext uri="{FF2B5EF4-FFF2-40B4-BE49-F238E27FC236}">
                <a16:creationId xmlns:a16="http://schemas.microsoft.com/office/drawing/2014/main" id="{BB717BEA-B808-D346-9AF6-D2416D028F0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71360" y="0"/>
            <a:ext cx="512064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6848" y="3000005"/>
            <a:ext cx="5925072" cy="1470025"/>
          </a:xfrm>
        </p:spPr>
        <p:txBody>
          <a:bodyPr/>
          <a:lstStyle>
            <a:lvl1pPr>
              <a:lnSpc>
                <a:spcPct val="90000"/>
              </a:lnSpc>
              <a:defRPr sz="4800"/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6848" y="2572871"/>
            <a:ext cx="5925072" cy="355414"/>
          </a:xfrm>
        </p:spPr>
        <p:txBody>
          <a:bodyPr anchor="b"/>
          <a:lstStyle>
            <a:lvl1pPr marL="0" indent="0" algn="l">
              <a:buNone/>
              <a:defRPr sz="16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</p:spTree>
    <p:extLst>
      <p:ext uri="{BB962C8B-B14F-4D97-AF65-F5344CB8AC3E}">
        <p14:creationId xmlns:p14="http://schemas.microsoft.com/office/powerpoint/2010/main" val="38171225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S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5798" y="1463040"/>
            <a:ext cx="5385817" cy="45720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Click icon to add picture</a:t>
            </a:r>
            <a:endParaRPr lang="uk-U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C12A3D21-3D55-3943-87CD-C5F4444ECAF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437376" y="1463040"/>
            <a:ext cx="5385816" cy="4572000"/>
          </a:xfrm>
          <a:prstGeom prst="rect">
            <a:avLst/>
          </a:prstGeom>
          <a:solidFill>
            <a:schemeClr val="bg1"/>
          </a:solidFill>
          <a:effectLst/>
        </p:spPr>
        <p:txBody>
          <a:bodyPr/>
          <a:lstStyle>
            <a:lvl1pPr>
              <a:defRPr sz="1333"/>
            </a:lvl1pPr>
          </a:lstStyle>
          <a:p>
            <a:r>
              <a:rPr lang="en-US"/>
              <a:t>Click icon to add picture</a:t>
            </a:r>
            <a:endParaRPr lang="uk-UA"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D8859514-E25A-AD4A-A4BB-37806CBDC74A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DAA558F6-B280-714B-BF82-E641791EC7DA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8EA1F9D3-CAA5-AC41-8923-3B1ACBC96357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99543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546887-938B-AA44-9685-C0D98B48F45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3277" y="3816350"/>
            <a:ext cx="2486025" cy="1193800"/>
          </a:xfrm>
        </p:spPr>
        <p:txBody>
          <a:bodyPr/>
          <a:lstStyle>
            <a:lvl1pPr algn="ctr">
              <a:defRPr sz="2000"/>
            </a:lvl1pPr>
            <a:lvl2pPr algn="ctr">
              <a:buNone/>
              <a:defRPr sz="15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C0003A5D-9A08-5749-A6E4-DA7B7417D7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11483" y="3816350"/>
            <a:ext cx="2486025" cy="1193800"/>
          </a:xfrm>
        </p:spPr>
        <p:txBody>
          <a:bodyPr/>
          <a:lstStyle>
            <a:lvl1pPr algn="ctr">
              <a:defRPr sz="2000"/>
            </a:lvl1pPr>
            <a:lvl2pPr algn="ctr">
              <a:buNone/>
              <a:defRPr sz="15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0D3CF48-1CCC-424A-B5AC-2A6BAE6BDD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30933" y="3816350"/>
            <a:ext cx="2486025" cy="1193800"/>
          </a:xfrm>
        </p:spPr>
        <p:txBody>
          <a:bodyPr/>
          <a:lstStyle>
            <a:lvl1pPr algn="ctr">
              <a:defRPr sz="2000"/>
            </a:lvl1pPr>
            <a:lvl2pPr algn="ctr">
              <a:buNone/>
              <a:defRPr sz="1500"/>
            </a:lvl2pPr>
            <a:lvl3pPr>
              <a:buNone/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9BCBD39C-314C-B145-9FE9-14E6328A08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26910" y="1922845"/>
            <a:ext cx="1378760" cy="1192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F2F845E-1C87-8A41-B6E2-479EE17F6D93}"/>
              </a:ext>
            </a:extLst>
          </p:cNvPr>
          <p:cNvGrpSpPr/>
          <p:nvPr userDrawn="1"/>
        </p:nvGrpSpPr>
        <p:grpSpPr>
          <a:xfrm>
            <a:off x="2882646" y="3234711"/>
            <a:ext cx="6743700" cy="304800"/>
            <a:chOff x="4086225" y="4271760"/>
            <a:chExt cx="10115550" cy="4572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61DC7D9-238F-A240-A99F-FE2BC3D89A99}"/>
                </a:ext>
              </a:extLst>
            </p:cNvPr>
            <p:cNvSpPr/>
            <p:nvPr/>
          </p:nvSpPr>
          <p:spPr>
            <a:xfrm>
              <a:off x="8915400" y="4271760"/>
              <a:ext cx="457200" cy="457200"/>
            </a:xfrm>
            <a:prstGeom prst="ellipse">
              <a:avLst/>
            </a:prstGeom>
            <a:noFill/>
            <a:ln w="254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uk-UA" sz="1867">
                <a:solidFill>
                  <a:schemeClr val="bg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319FA2A0-129D-F346-8D5D-A8757A81750F}"/>
                </a:ext>
              </a:extLst>
            </p:cNvPr>
            <p:cNvSpPr/>
            <p:nvPr/>
          </p:nvSpPr>
          <p:spPr>
            <a:xfrm>
              <a:off x="4086225" y="4271760"/>
              <a:ext cx="457200" cy="457200"/>
            </a:xfrm>
            <a:prstGeom prst="ellipse">
              <a:avLst/>
            </a:prstGeom>
            <a:noFill/>
            <a:ln w="254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uk-UA" sz="1867">
                <a:solidFill>
                  <a:schemeClr val="bg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B1F144B-8A90-E640-B4D0-3BD3010841E9}"/>
                </a:ext>
              </a:extLst>
            </p:cNvPr>
            <p:cNvSpPr/>
            <p:nvPr/>
          </p:nvSpPr>
          <p:spPr>
            <a:xfrm>
              <a:off x="13744575" y="4271760"/>
              <a:ext cx="457200" cy="457200"/>
            </a:xfrm>
            <a:prstGeom prst="ellipse">
              <a:avLst/>
            </a:prstGeom>
            <a:noFill/>
            <a:ln w="25400">
              <a:solidFill>
                <a:srgbClr val="00A3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uk-UA" sz="1867">
                <a:solidFill>
                  <a:schemeClr val="bg1"/>
                </a:solidFill>
              </a:endParaRP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A495909F-1BEB-024D-A6E8-D4286ACCDB29}"/>
                </a:ext>
              </a:extLst>
            </p:cNvPr>
            <p:cNvCxnSpPr>
              <a:stCxn id="19" idx="6"/>
              <a:endCxn id="18" idx="2"/>
            </p:cNvCxnSpPr>
            <p:nvPr/>
          </p:nvCxnSpPr>
          <p:spPr>
            <a:xfrm>
              <a:off x="4543425" y="4500360"/>
              <a:ext cx="4371975" cy="0"/>
            </a:xfrm>
            <a:prstGeom prst="line">
              <a:avLst/>
            </a:prstGeom>
            <a:ln w="25400" cap="sq">
              <a:solidFill>
                <a:srgbClr val="00A3D8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9D05CC3D-D38B-484B-A0E1-D8264D6ABCA1}"/>
                </a:ext>
              </a:extLst>
            </p:cNvPr>
            <p:cNvCxnSpPr>
              <a:stCxn id="18" idx="6"/>
              <a:endCxn id="20" idx="2"/>
            </p:cNvCxnSpPr>
            <p:nvPr/>
          </p:nvCxnSpPr>
          <p:spPr>
            <a:xfrm>
              <a:off x="9372600" y="4500360"/>
              <a:ext cx="4371975" cy="0"/>
            </a:xfrm>
            <a:prstGeom prst="line">
              <a:avLst/>
            </a:prstGeom>
            <a:ln w="25400" cap="sq">
              <a:solidFill>
                <a:srgbClr val="00A3D8"/>
              </a:solidFill>
              <a:bevel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1CD57F83-4D46-8145-8D41-BFE66B6743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57790" y="1922845"/>
            <a:ext cx="1378760" cy="1192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13">
            <a:extLst>
              <a:ext uri="{FF2B5EF4-FFF2-40B4-BE49-F238E27FC236}">
                <a16:creationId xmlns:a16="http://schemas.microsoft.com/office/drawing/2014/main" id="{4A6D961F-42E0-6A45-8AC0-CC31037B7A1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64286" y="1922845"/>
            <a:ext cx="1378760" cy="1192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object 5">
            <a:extLst>
              <a:ext uri="{FF2B5EF4-FFF2-40B4-BE49-F238E27FC236}">
                <a16:creationId xmlns:a16="http://schemas.microsoft.com/office/drawing/2014/main" id="{AF330382-A84E-AB43-9AAE-824433296EEC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26" name="object 6">
            <a:extLst>
              <a:ext uri="{FF2B5EF4-FFF2-40B4-BE49-F238E27FC236}">
                <a16:creationId xmlns:a16="http://schemas.microsoft.com/office/drawing/2014/main" id="{8534C7B2-3777-7B41-87EB-BE09B0DB58BA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6">
            <a:extLst>
              <a:ext uri="{FF2B5EF4-FFF2-40B4-BE49-F238E27FC236}">
                <a16:creationId xmlns:a16="http://schemas.microsoft.com/office/drawing/2014/main" id="{64BCE53A-A311-4448-9E7A-6461086AA4DD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11772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–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Chart Placeholder 39">
            <a:extLst>
              <a:ext uri="{FF2B5EF4-FFF2-40B4-BE49-F238E27FC236}">
                <a16:creationId xmlns:a16="http://schemas.microsoft.com/office/drawing/2014/main" id="{1B5DF284-65B5-7844-93F4-13CC048EF760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691042" y="1609343"/>
            <a:ext cx="2625256" cy="240690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6" name="Chart Placeholder 39">
            <a:extLst>
              <a:ext uri="{FF2B5EF4-FFF2-40B4-BE49-F238E27FC236}">
                <a16:creationId xmlns:a16="http://schemas.microsoft.com/office/drawing/2014/main" id="{F3AB0547-2356-304D-8E02-8A8F4256CF72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3527714" y="1609343"/>
            <a:ext cx="2625256" cy="240690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7" name="Chart Placeholder 39">
            <a:extLst>
              <a:ext uri="{FF2B5EF4-FFF2-40B4-BE49-F238E27FC236}">
                <a16:creationId xmlns:a16="http://schemas.microsoft.com/office/drawing/2014/main" id="{3C8C4C4A-19E3-B44A-B5DB-406A3A36D8CB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6364386" y="1609343"/>
            <a:ext cx="2625256" cy="240690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8" name="Chart Placeholder 39">
            <a:extLst>
              <a:ext uri="{FF2B5EF4-FFF2-40B4-BE49-F238E27FC236}">
                <a16:creationId xmlns:a16="http://schemas.microsoft.com/office/drawing/2014/main" id="{4ADF6288-FB8F-974F-9B83-F47689921B7A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9201058" y="1609343"/>
            <a:ext cx="2625256" cy="240690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58008AEF-DA3A-E14C-8482-B52F4F0F9F2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9450" y="4144963"/>
            <a:ext cx="2636838" cy="1536700"/>
          </a:xfrm>
        </p:spPr>
        <p:txBody>
          <a:bodyPr/>
          <a:lstStyle>
            <a:lvl1pPr algn="ctr">
              <a:defRPr/>
            </a:lvl1pPr>
            <a:lvl2pPr algn="ctr">
              <a:buNone/>
              <a:defRPr sz="1600"/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0" name="Text Placeholder 38">
            <a:extLst>
              <a:ext uri="{FF2B5EF4-FFF2-40B4-BE49-F238E27FC236}">
                <a16:creationId xmlns:a16="http://schemas.microsoft.com/office/drawing/2014/main" id="{B9BCC668-D0C7-C243-B704-6B8BA62611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532378" y="4144963"/>
            <a:ext cx="2636838" cy="1536700"/>
          </a:xfrm>
        </p:spPr>
        <p:txBody>
          <a:bodyPr/>
          <a:lstStyle>
            <a:lvl1pPr algn="ctr">
              <a:defRPr/>
            </a:lvl1pPr>
            <a:lvl2pPr algn="ctr">
              <a:buNone/>
              <a:defRPr sz="1600"/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127D704A-32CA-F041-86B3-02C276A4FE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73114" y="4144963"/>
            <a:ext cx="2636838" cy="1536700"/>
          </a:xfrm>
        </p:spPr>
        <p:txBody>
          <a:bodyPr/>
          <a:lstStyle>
            <a:lvl1pPr algn="ctr">
              <a:defRPr/>
            </a:lvl1pPr>
            <a:lvl2pPr algn="ctr">
              <a:buNone/>
              <a:defRPr sz="1600"/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2" name="Text Placeholder 38">
            <a:extLst>
              <a:ext uri="{FF2B5EF4-FFF2-40B4-BE49-F238E27FC236}">
                <a16:creationId xmlns:a16="http://schemas.microsoft.com/office/drawing/2014/main" id="{7FCC8719-92E7-2C46-887F-939336067DA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01658" y="4144963"/>
            <a:ext cx="2636838" cy="1536700"/>
          </a:xfrm>
        </p:spPr>
        <p:txBody>
          <a:bodyPr/>
          <a:lstStyle>
            <a:lvl1pPr algn="ctr">
              <a:defRPr/>
            </a:lvl1pPr>
            <a:lvl2pPr algn="ctr">
              <a:buNone/>
              <a:defRPr sz="1600"/>
            </a:lvl2pPr>
          </a:lstStyle>
          <a:p>
            <a:pPr lvl="0"/>
            <a:r>
              <a:rPr lang="en-US" dirty="0"/>
              <a:t>Headline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object 5">
            <a:extLst>
              <a:ext uri="{FF2B5EF4-FFF2-40B4-BE49-F238E27FC236}">
                <a16:creationId xmlns:a16="http://schemas.microsoft.com/office/drawing/2014/main" id="{B2625C30-A258-A844-9E23-C2C7D17A3B0B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5" name="object 6">
            <a:extLst>
              <a:ext uri="{FF2B5EF4-FFF2-40B4-BE49-F238E27FC236}">
                <a16:creationId xmlns:a16="http://schemas.microsoft.com/office/drawing/2014/main" id="{7644D16B-6E79-0545-B848-1A856F7A3D66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6">
            <a:extLst>
              <a:ext uri="{FF2B5EF4-FFF2-40B4-BE49-F238E27FC236}">
                <a16:creationId xmlns:a16="http://schemas.microsoft.com/office/drawing/2014/main" id="{843A78A7-BCFA-DD4C-89ED-4FAEEF7159FD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0003704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s –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64EFA75D-E478-AF41-A4AE-06F25C1D50D9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85800" y="1898164"/>
            <a:ext cx="4435475" cy="3556000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731EC33-6F9C-B647-8E03-5834A1EF12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22298" y="1898164"/>
            <a:ext cx="5546725" cy="3556000"/>
          </a:xfrm>
        </p:spPr>
        <p:txBody>
          <a:bodyPr anchor="ctr"/>
          <a:lstStyle>
            <a:lvl1pPr>
              <a:defRPr sz="1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73CDA452-9269-224C-B23E-2F0002C585E5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F009D428-B1AD-534A-A544-7F3C060CCA18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E45DF1F0-4626-6A42-B1F0-A3168B0B24EA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9637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530C92-F786-7740-8D4F-856680EDC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282EAA1A-041D-BC41-A7DC-1ED8A88CB03A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28800"/>
            <a:ext cx="10972800" cy="4071938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F2CCF360-2779-0446-9075-A15DE89FBF45}"/>
              </a:ext>
            </a:extLst>
          </p:cNvPr>
          <p:cNvSpPr/>
          <p:nvPr userDrawn="1"/>
        </p:nvSpPr>
        <p:spPr>
          <a:xfrm>
            <a:off x="0" y="0"/>
            <a:ext cx="216535" cy="5989320"/>
          </a:xfrm>
          <a:custGeom>
            <a:avLst/>
            <a:gdLst/>
            <a:ahLst/>
            <a:cxnLst/>
            <a:rect l="l" t="t" r="r" b="b"/>
            <a:pathLst>
              <a:path w="216535" h="5989320">
                <a:moveTo>
                  <a:pt x="0" y="5989320"/>
                </a:moveTo>
                <a:lnTo>
                  <a:pt x="216255" y="5989320"/>
                </a:lnTo>
                <a:lnTo>
                  <a:pt x="216255" y="0"/>
                </a:lnTo>
                <a:lnTo>
                  <a:pt x="0" y="0"/>
                </a:lnTo>
                <a:lnTo>
                  <a:pt x="0" y="5989320"/>
                </a:lnTo>
                <a:close/>
              </a:path>
            </a:pathLst>
          </a:custGeom>
          <a:solidFill>
            <a:srgbClr val="003CA4"/>
          </a:solidFill>
        </p:spPr>
        <p:txBody>
          <a:bodyPr wrap="square" lIns="0" tIns="0" rIns="0" bIns="0" rtlCol="0"/>
          <a:lstStyle/>
          <a:p>
            <a:r>
              <a:rPr lang="en-US" dirty="0"/>
              <a:t>   </a:t>
            </a:r>
            <a:endParaRPr dirty="0"/>
          </a:p>
        </p:txBody>
      </p:sp>
      <p:sp>
        <p:nvSpPr>
          <p:cNvPr id="9" name="object 6">
            <a:extLst>
              <a:ext uri="{FF2B5EF4-FFF2-40B4-BE49-F238E27FC236}">
                <a16:creationId xmlns:a16="http://schemas.microsoft.com/office/drawing/2014/main" id="{8A5B97BC-C227-1B47-87CF-F0FB935DD0EC}"/>
              </a:ext>
            </a:extLst>
          </p:cNvPr>
          <p:cNvSpPr/>
          <p:nvPr userDrawn="1"/>
        </p:nvSpPr>
        <p:spPr>
          <a:xfrm>
            <a:off x="0" y="5965825"/>
            <a:ext cx="216535" cy="896150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00A2D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6">
            <a:extLst>
              <a:ext uri="{FF2B5EF4-FFF2-40B4-BE49-F238E27FC236}">
                <a16:creationId xmlns:a16="http://schemas.microsoft.com/office/drawing/2014/main" id="{AE079321-FF5C-9A46-A0C4-F621D878A344}"/>
              </a:ext>
            </a:extLst>
          </p:cNvPr>
          <p:cNvSpPr/>
          <p:nvPr userDrawn="1"/>
        </p:nvSpPr>
        <p:spPr>
          <a:xfrm>
            <a:off x="0" y="5737225"/>
            <a:ext cx="216535" cy="252095"/>
          </a:xfrm>
          <a:custGeom>
            <a:avLst/>
            <a:gdLst/>
            <a:ahLst/>
            <a:cxnLst/>
            <a:rect l="l" t="t" r="r" b="b"/>
            <a:pathLst>
              <a:path w="216535" h="868679">
                <a:moveTo>
                  <a:pt x="0" y="868679"/>
                </a:moveTo>
                <a:lnTo>
                  <a:pt x="216255" y="868679"/>
                </a:lnTo>
                <a:lnTo>
                  <a:pt x="216255" y="0"/>
                </a:lnTo>
                <a:lnTo>
                  <a:pt x="0" y="0"/>
                </a:lnTo>
                <a:lnTo>
                  <a:pt x="0" y="868679"/>
                </a:lnTo>
                <a:close/>
              </a:path>
            </a:pathLst>
          </a:custGeom>
          <a:solidFill>
            <a:srgbClr val="78BD1F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74610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FAA9FEC-57C6-3740-939C-497F9A6A9F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05826" y="2496572"/>
            <a:ext cx="4580348" cy="1864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0731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A9189C1-7021-9A4E-AA51-080E4FA962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05826" y="2496572"/>
            <a:ext cx="4580348" cy="1864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31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6 – Dark Blue">
    <p:bg>
      <p:bgPr>
        <a:solidFill>
          <a:schemeClr val="bg1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9C33B9B-3A3F-734D-9FBB-C85998F485C2}"/>
              </a:ext>
            </a:extLst>
          </p:cNvPr>
          <p:cNvSpPr/>
          <p:nvPr userDrawn="1"/>
        </p:nvSpPr>
        <p:spPr>
          <a:xfrm>
            <a:off x="0" y="5093808"/>
            <a:ext cx="12192000" cy="1764192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3745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7FD6AE-5278-8944-9DF9-31F82340DC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6848" y="4048991"/>
            <a:ext cx="3742764" cy="361762"/>
          </a:xfrm>
        </p:spPr>
        <p:txBody>
          <a:bodyPr/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6848" y="1785549"/>
            <a:ext cx="7593106" cy="1470025"/>
          </a:xfrm>
        </p:spPr>
        <p:txBody>
          <a:bodyPr/>
          <a:lstStyle>
            <a:lvl1pPr>
              <a:lnSpc>
                <a:spcPct val="90000"/>
              </a:lnSpc>
              <a:defRPr sz="48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6848" y="1358415"/>
            <a:ext cx="7593106" cy="355414"/>
          </a:xfrm>
        </p:spPr>
        <p:txBody>
          <a:bodyPr anchor="b"/>
          <a:lstStyle>
            <a:lvl1pPr marL="0" indent="0" algn="l">
              <a:buNone/>
              <a:defRPr sz="1600" b="1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F76EB0D-B6D2-394A-A1F7-6E86B34B33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8551823" y="5272534"/>
            <a:ext cx="3455150" cy="140674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D43C246-A11B-744D-BFC2-9B0D67015FCD}"/>
              </a:ext>
            </a:extLst>
          </p:cNvPr>
          <p:cNvSpPr/>
          <p:nvPr userDrawn="1"/>
        </p:nvSpPr>
        <p:spPr>
          <a:xfrm>
            <a:off x="305" y="4961359"/>
            <a:ext cx="12191695" cy="145279"/>
          </a:xfrm>
          <a:prstGeom prst="rect">
            <a:avLst/>
          </a:prstGeom>
          <a:solidFill>
            <a:srgbClr val="003D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A40C996-DB86-254A-A714-6D9C4B0A71E2}"/>
              </a:ext>
            </a:extLst>
          </p:cNvPr>
          <p:cNvSpPr/>
          <p:nvPr userDrawn="1"/>
        </p:nvSpPr>
        <p:spPr>
          <a:xfrm>
            <a:off x="9337658" y="4961359"/>
            <a:ext cx="2854342" cy="1463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192ADF5-E572-164A-9C9A-B139819C8D95}"/>
              </a:ext>
            </a:extLst>
          </p:cNvPr>
          <p:cNvSpPr/>
          <p:nvPr userDrawn="1"/>
        </p:nvSpPr>
        <p:spPr>
          <a:xfrm>
            <a:off x="8885374" y="4961359"/>
            <a:ext cx="451979" cy="14476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476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6 – Dark Blue">
    <p:bg>
      <p:bgPr>
        <a:solidFill>
          <a:srgbClr val="003DA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D1E8303-71D6-424A-A92D-1CDB153F622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15000"/>
          </a:blip>
          <a:stretch>
            <a:fillRect/>
          </a:stretch>
        </p:blipFill>
        <p:spPr>
          <a:xfrm>
            <a:off x="-1574801" y="-1087821"/>
            <a:ext cx="6204023" cy="905354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4A337F8-2DFD-E641-951D-46A1673BC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1762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4A337F8-2DFD-E641-951D-46A1673BC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7FD6AE-5278-8944-9DF9-31F82340DC9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904903" y="4225306"/>
            <a:ext cx="3742764" cy="361762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77B942-E58B-D24C-B267-68A9DBE1268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>
            <a:off x="8550576" y="5295537"/>
            <a:ext cx="3455150" cy="140673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04903" y="2542474"/>
            <a:ext cx="7603925" cy="1470025"/>
          </a:xfrm>
        </p:spPr>
        <p:txBody>
          <a:bodyPr/>
          <a:lstStyle>
            <a:lvl1pPr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</a:t>
            </a:r>
            <a:br>
              <a:rPr lang="en-US" dirty="0"/>
            </a:b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04903" y="2115340"/>
            <a:ext cx="7603925" cy="355414"/>
          </a:xfrm>
        </p:spPr>
        <p:txBody>
          <a:bodyPr anchor="b"/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intro</a:t>
            </a:r>
          </a:p>
        </p:txBody>
      </p:sp>
    </p:spTree>
    <p:extLst>
      <p:ext uri="{BB962C8B-B14F-4D97-AF65-F5344CB8AC3E}">
        <p14:creationId xmlns:p14="http://schemas.microsoft.com/office/powerpoint/2010/main" val="32033474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FE670B8-7D22-674F-8293-88466244E365}"/>
              </a:ext>
            </a:extLst>
          </p:cNvPr>
          <p:cNvSpPr/>
          <p:nvPr userDrawn="1"/>
        </p:nvSpPr>
        <p:spPr>
          <a:xfrm>
            <a:off x="0" y="3456113"/>
            <a:ext cx="12191695" cy="340188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32837D-BFD7-7E4C-A4B1-6DE77AD834EB}"/>
              </a:ext>
            </a:extLst>
          </p:cNvPr>
          <p:cNvSpPr/>
          <p:nvPr userDrawn="1"/>
        </p:nvSpPr>
        <p:spPr>
          <a:xfrm>
            <a:off x="305" y="3310834"/>
            <a:ext cx="12191695" cy="145279"/>
          </a:xfrm>
          <a:prstGeom prst="rect">
            <a:avLst/>
          </a:prstGeom>
          <a:solidFill>
            <a:srgbClr val="00A2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C061A1A-78DC-C842-BBB3-753B6E7C2D53}"/>
              </a:ext>
            </a:extLst>
          </p:cNvPr>
          <p:cNvSpPr/>
          <p:nvPr userDrawn="1"/>
        </p:nvSpPr>
        <p:spPr>
          <a:xfrm>
            <a:off x="10362895" y="3310833"/>
            <a:ext cx="1828800" cy="146304"/>
          </a:xfrm>
          <a:prstGeom prst="rect">
            <a:avLst/>
          </a:prstGeom>
          <a:solidFill>
            <a:srgbClr val="78BE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3248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861" y="1926250"/>
            <a:ext cx="9447008" cy="1362075"/>
          </a:xfrm>
        </p:spPr>
        <p:txBody>
          <a:bodyPr anchor="t"/>
          <a:lstStyle>
            <a:lvl1pPr algn="l">
              <a:defRPr sz="4800" b="1" cap="none" baseline="0"/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57575" y="1687387"/>
            <a:ext cx="9447007" cy="274031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6311E2E-1A55-A544-AF1B-B6261FDB24D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2" y="6046968"/>
            <a:ext cx="1867071" cy="76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4086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Dark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C49C85EB-C40C-FC4F-8ABC-3EFADFB97FA7}"/>
              </a:ext>
            </a:extLst>
          </p:cNvPr>
          <p:cNvSpPr/>
          <p:nvPr userDrawn="1"/>
        </p:nvSpPr>
        <p:spPr>
          <a:xfrm>
            <a:off x="0" y="3456113"/>
            <a:ext cx="12191695" cy="3401887"/>
          </a:xfrm>
          <a:prstGeom prst="rect">
            <a:avLst/>
          </a:prstGeom>
          <a:solidFill>
            <a:srgbClr val="00A2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496DCF9-8093-014A-ACB8-1B33A64605E5}"/>
              </a:ext>
            </a:extLst>
          </p:cNvPr>
          <p:cNvSpPr/>
          <p:nvPr userDrawn="1"/>
        </p:nvSpPr>
        <p:spPr>
          <a:xfrm>
            <a:off x="305" y="3310834"/>
            <a:ext cx="12191695" cy="145279"/>
          </a:xfrm>
          <a:prstGeom prst="rect">
            <a:avLst/>
          </a:prstGeom>
          <a:solidFill>
            <a:srgbClr val="003D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7FB0E1C-CCB1-0848-9EFF-635AF89E3DE0}"/>
              </a:ext>
            </a:extLst>
          </p:cNvPr>
          <p:cNvSpPr/>
          <p:nvPr userDrawn="1"/>
        </p:nvSpPr>
        <p:spPr>
          <a:xfrm>
            <a:off x="10362895" y="3310833"/>
            <a:ext cx="1828800" cy="146304"/>
          </a:xfrm>
          <a:prstGeom prst="rect">
            <a:avLst/>
          </a:prstGeom>
          <a:solidFill>
            <a:srgbClr val="78BE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03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861" y="1926250"/>
            <a:ext cx="9447008" cy="1362075"/>
          </a:xfrm>
        </p:spPr>
        <p:txBody>
          <a:bodyPr anchor="t"/>
          <a:lstStyle>
            <a:lvl1pPr algn="l">
              <a:defRPr sz="4800" b="1" cap="none" baseline="0">
                <a:solidFill>
                  <a:srgbClr val="003DA5"/>
                </a:solidFill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57575" y="1687387"/>
            <a:ext cx="9447007" cy="274031"/>
          </a:xfrm>
        </p:spPr>
        <p:txBody>
          <a:bodyPr anchor="b"/>
          <a:lstStyle>
            <a:lvl1pPr marL="0" indent="0">
              <a:buNone/>
              <a:defRPr sz="1400" b="1">
                <a:solidFill>
                  <a:srgbClr val="003DA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Divider subhea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1FA1759-182E-5C4C-B7DC-B65963E3E72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3" y="6046968"/>
            <a:ext cx="1867069" cy="76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273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ivider Light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0AA7157-3D7B-0840-A6C5-BDC53E6466BE}"/>
              </a:ext>
            </a:extLst>
          </p:cNvPr>
          <p:cNvSpPr/>
          <p:nvPr userDrawn="1"/>
        </p:nvSpPr>
        <p:spPr>
          <a:xfrm>
            <a:off x="0" y="3456113"/>
            <a:ext cx="12191695" cy="3401887"/>
          </a:xfrm>
          <a:prstGeom prst="rect">
            <a:avLst/>
          </a:prstGeom>
          <a:solidFill>
            <a:srgbClr val="78BE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998B8B5-FBD5-CC4D-ACB7-9C485BABAE78}"/>
              </a:ext>
            </a:extLst>
          </p:cNvPr>
          <p:cNvSpPr/>
          <p:nvPr userDrawn="1"/>
        </p:nvSpPr>
        <p:spPr>
          <a:xfrm>
            <a:off x="305" y="3310834"/>
            <a:ext cx="12191695" cy="145279"/>
          </a:xfrm>
          <a:prstGeom prst="rect">
            <a:avLst/>
          </a:prstGeom>
          <a:solidFill>
            <a:srgbClr val="003DA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3DEC491-8CFB-E441-8483-92F5FA1F4F2C}"/>
              </a:ext>
            </a:extLst>
          </p:cNvPr>
          <p:cNvSpPr/>
          <p:nvPr userDrawn="1"/>
        </p:nvSpPr>
        <p:spPr>
          <a:xfrm>
            <a:off x="10362895" y="3310833"/>
            <a:ext cx="1828800" cy="146304"/>
          </a:xfrm>
          <a:prstGeom prst="rect">
            <a:avLst/>
          </a:prstGeom>
          <a:solidFill>
            <a:srgbClr val="00A2D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195D028-1C91-264C-A5AC-A1F91ECB11C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092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195D028-1C91-264C-A5AC-A1F91ECB1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861" y="1926250"/>
            <a:ext cx="9447008" cy="1362075"/>
          </a:xfrm>
        </p:spPr>
        <p:txBody>
          <a:bodyPr anchor="t"/>
          <a:lstStyle>
            <a:lvl1pPr algn="l" defTabSz="457200" rtl="0" eaLnBrk="1" latinLnBrk="0" hangingPunct="1">
              <a:spcBef>
                <a:spcPct val="0"/>
              </a:spcBef>
              <a:buNone/>
              <a:defRPr lang="en-US" sz="4800" b="1" kern="1200" cap="none" baseline="0" dirty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divid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57575" y="1687387"/>
            <a:ext cx="9447007" cy="274031"/>
          </a:xfrm>
        </p:spPr>
        <p:txBody>
          <a:bodyPr anchor="b"/>
          <a:lstStyle>
            <a:lvl1pPr marL="0" indent="0">
              <a:buNone/>
              <a:defRPr lang="en-US" sz="14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lvl="0" indent="0" algn="l" defTabSz="457200" rtl="0" eaLnBrk="1" latinLnBrk="0" hangingPunct="1">
              <a:spcBef>
                <a:spcPts val="0"/>
              </a:spcBef>
              <a:buFont typeface="Arial"/>
              <a:buNone/>
            </a:pPr>
            <a:r>
              <a:rPr lang="en-US" dirty="0"/>
              <a:t>Divider subhead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EF13EF38-73CB-034C-B3F0-E7D70F281B0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441153" y="6046968"/>
            <a:ext cx="1867069" cy="760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108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FFF78A-3194-3E4A-9934-CD31BE212A8F}"/>
              </a:ext>
            </a:extLst>
          </p:cNvPr>
          <p:cNvGraphicFramePr>
            <a:graphicFrameLocks noChangeAspect="1"/>
          </p:cNvGraphicFramePr>
          <p:nvPr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3087312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1" imgW="7772400" imgH="10058400" progId="TCLayout.ActiveDocument.1">
                  <p:embed/>
                </p:oleObj>
              </mc:Choice>
              <mc:Fallback>
                <p:oleObj name="think-cell Slide" r:id="rId51" imgW="7772400" imgH="1005840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FFF78A-3194-3E4A-9934-CD31BE212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90194"/>
            <a:ext cx="10972800" cy="92744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076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78751B7-804A-1F48-A802-43A722BBAFFB}"/>
              </a:ext>
            </a:extLst>
          </p:cNvPr>
          <p:cNvSpPr/>
          <p:nvPr>
            <p:custDataLst>
              <p:tags r:id="rId5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F6343FD-5B1E-014C-8D89-B47812E85105}"/>
              </a:ext>
            </a:extLst>
          </p:cNvPr>
          <p:cNvSpPr txBox="1"/>
          <p:nvPr userDrawn="1"/>
        </p:nvSpPr>
        <p:spPr>
          <a:xfrm>
            <a:off x="11283697" y="6315469"/>
            <a:ext cx="457820" cy="246221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r"/>
            <a:r>
              <a:rPr lang="en-US" sz="1000" b="1" dirty="0">
                <a:solidFill>
                  <a:srgbClr val="00A2D7"/>
                </a:solidFill>
              </a:rPr>
              <a:t>| </a:t>
            </a:r>
            <a:fld id="{17719481-C555-E943-814E-BF2BA8FE344F}" type="slidenum">
              <a:rPr lang="en-US" sz="1000" smtClean="0">
                <a:solidFill>
                  <a:schemeClr val="tx2"/>
                </a:solidFill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606C3D9-8A71-DD41-8217-4BDDEDB30BF8}"/>
              </a:ext>
            </a:extLst>
          </p:cNvPr>
          <p:cNvPicPr>
            <a:picLocks noChangeAspect="1"/>
          </p:cNvPicPr>
          <p:nvPr userDrawn="1"/>
        </p:nvPicPr>
        <p:blipFill>
          <a:blip r:embed="rId53"/>
          <a:srcRect/>
          <a:stretch/>
        </p:blipFill>
        <p:spPr>
          <a:xfrm>
            <a:off x="441152" y="6046968"/>
            <a:ext cx="1867071" cy="760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812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36538" indent="-228600" algn="l" defTabSz="457200" rtl="0" eaLnBrk="1" latinLnBrk="0" hangingPunct="1"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65138" indent="-228600" algn="l" defTabSz="457200" rtl="0" eaLnBrk="1" latinLnBrk="0" hangingPunct="1"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93738" indent="-228600" algn="l" defTabSz="457200" rtl="0" eaLnBrk="1" latinLnBrk="0" hangingPunct="1"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22338" indent="-228600" algn="l" defTabSz="457200" rtl="0" eaLnBrk="1" latinLnBrk="0" hangingPunct="1">
        <a:spcBef>
          <a:spcPts val="0"/>
        </a:spcBef>
        <a:buClr>
          <a:schemeClr val="accent2"/>
        </a:buClr>
        <a:buFont typeface="Arial" panose="020B0604020202020204" pitchFamily="34" charset="0"/>
        <a:buChar char="–"/>
        <a:tabLst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Placeholder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97" t="4855" r="17637" b="4855"/>
          <a:stretch/>
        </p:blipFill>
        <p:spPr>
          <a:xfrm>
            <a:off x="0" y="0"/>
            <a:ext cx="3966007" cy="5981698"/>
          </a:xfrm>
          <a:prstGeom prst="round1Rect">
            <a:avLst>
              <a:gd name="adj" fmla="val 0"/>
            </a:avLst>
          </a:prstGeom>
          <a:solidFill>
            <a:srgbClr val="C7C9CF"/>
          </a:solidFill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B94335F-AF41-D240-993E-023446432D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0841" y="497946"/>
            <a:ext cx="7057312" cy="508436"/>
          </a:xfrm>
        </p:spPr>
        <p:txBody>
          <a:bodyPr/>
          <a:lstStyle/>
          <a:p>
            <a:r>
              <a:rPr lang="en-US" dirty="0"/>
              <a:t>CenterWell Pharmacy offers talking lab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490842" y="1082131"/>
            <a:ext cx="6763552" cy="811598"/>
          </a:xfrm>
        </p:spPr>
        <p:txBody>
          <a:bodyPr/>
          <a:lstStyle/>
          <a:p>
            <a:r>
              <a:rPr lang="en-US" sz="1600" dirty="0"/>
              <a:t>An easy-to-use solution for those with certain disabilities or impairments who may not be able to read or understand the information on their prescription label. Braille labels may also be requested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484CC3E-0FA5-FA4F-B9E1-DAB6BF9C66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08239" y="2436645"/>
            <a:ext cx="786060" cy="78606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9561F5F-6DA1-D54C-B516-63827967A9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52838" y="3765621"/>
            <a:ext cx="741461" cy="73588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B78DD1B-24B5-AF42-A01A-C676FCE960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85940" y="5044423"/>
            <a:ext cx="808359" cy="80836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713647" y="2483488"/>
            <a:ext cx="55407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cription information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tied to a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FID tag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ich is then attached to any sized prescription vial, box or tube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713648" y="3871954"/>
            <a:ext cx="554074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s are provided 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cripTalk® Station free of char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which identifies the tag and reads the prescription information to them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713647" y="5186993"/>
            <a:ext cx="55407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tion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s read 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lish or Spanish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hen the vial is placed near the station and can be repeated as often as needed.</a:t>
            </a:r>
          </a:p>
        </p:txBody>
      </p:sp>
    </p:spTree>
    <p:extLst>
      <p:ext uri="{BB962C8B-B14F-4D97-AF65-F5344CB8AC3E}">
        <p14:creationId xmlns:p14="http://schemas.microsoft.com/office/powerpoint/2010/main" val="4136686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ting started with CenterWell Talking Lab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599" y="1600201"/>
            <a:ext cx="5181599" cy="943619"/>
          </a:xfrm>
        </p:spPr>
        <p:txBody>
          <a:bodyPr/>
          <a:lstStyle/>
          <a:p>
            <a:r>
              <a:rPr lang="en-US" sz="1800" dirty="0"/>
              <a:t>To start using Talking Label, CenterWell Pharmacy users simply need to follow a few steps to determine their eligibility for the service.</a:t>
            </a:r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1" t="-522" r="19139" b="522"/>
          <a:stretch/>
        </p:blipFill>
        <p:spPr/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1F2599-0435-9540-BF13-000DF7329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599" y="2815843"/>
            <a:ext cx="635726" cy="64008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D992AA-46C5-244A-9EB6-0E0F05BD87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809" y="3712296"/>
            <a:ext cx="744582" cy="6858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7F9C4BE-A8BC-6241-AC9D-6F83515029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4352" y="4654469"/>
            <a:ext cx="586219" cy="73152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758439" y="2815843"/>
            <a:ext cx="4104487" cy="640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 participates in a short assessment to verify eligibility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58440" y="3735156"/>
            <a:ext cx="41044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f eligible, Envision America ships a ScripTalk® Station to the customer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758441" y="4700189"/>
            <a:ext cx="410448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’s future medication bottles will all be equipped with ScripTalk® technology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8CD018D-2871-39AA-F790-F310D84D9075}"/>
              </a:ext>
            </a:extLst>
          </p:cNvPr>
          <p:cNvSpPr/>
          <p:nvPr/>
        </p:nvSpPr>
        <p:spPr>
          <a:xfrm>
            <a:off x="4509154" y="5623519"/>
            <a:ext cx="2970426" cy="944880"/>
          </a:xfrm>
          <a:prstGeom prst="rect">
            <a:avLst/>
          </a:prstGeom>
          <a:solidFill>
            <a:srgbClr val="E7F6F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stomers can call CenterWell Pharmacy at </a:t>
            </a: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A3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-800-379-0092 (TTY: 711)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3F2D87A-D477-A012-DCB3-5510812D1232}"/>
              </a:ext>
            </a:extLst>
          </p:cNvPr>
          <p:cNvCxnSpPr>
            <a:cxnSpLocks/>
          </p:cNvCxnSpPr>
          <p:nvPr/>
        </p:nvCxnSpPr>
        <p:spPr>
          <a:xfrm flipH="1">
            <a:off x="4519012" y="6556224"/>
            <a:ext cx="2956404" cy="0"/>
          </a:xfrm>
          <a:prstGeom prst="line">
            <a:avLst/>
          </a:prstGeom>
          <a:ln w="25400" cap="sq">
            <a:solidFill>
              <a:srgbClr val="00A3D8"/>
            </a:solidFill>
            <a:bevel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251F2599-0435-9540-BF13-000DF73296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2988" y="5815551"/>
            <a:ext cx="544908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356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UC76jfYhgK0AXPPuF7q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enterWell">
  <a:themeElements>
    <a:clrScheme name="Custom 1 1">
      <a:dk1>
        <a:srgbClr val="3A3B3C"/>
      </a:dk1>
      <a:lt1>
        <a:srgbClr val="FFFFFF"/>
      </a:lt1>
      <a:dk2>
        <a:srgbClr val="003CA5"/>
      </a:dk2>
      <a:lt2>
        <a:srgbClr val="E6E7E8"/>
      </a:lt2>
      <a:accent1>
        <a:srgbClr val="003CA5"/>
      </a:accent1>
      <a:accent2>
        <a:srgbClr val="00A3D7"/>
      </a:accent2>
      <a:accent3>
        <a:srgbClr val="78BE20"/>
      </a:accent3>
      <a:accent4>
        <a:srgbClr val="003057"/>
      </a:accent4>
      <a:accent5>
        <a:srgbClr val="A90B5D"/>
      </a:accent5>
      <a:accent6>
        <a:srgbClr val="E6E7E8"/>
      </a:accent6>
      <a:hlink>
        <a:srgbClr val="00A3D7"/>
      </a:hlink>
      <a:folHlink>
        <a:srgbClr val="003CA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765802_CenterWell_Pharmacy_PPT_Template" id="{DE18FC07-904C-7A42-BD14-FF9F04073268}" vid="{E7D76FFD-CB0B-F440-BE50-71955C16303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2f7f07c-7d55-49af-96fd-b0bb0992bf9e" xsi:nil="true"/>
    <lcf76f155ced4ddcb4097134ff3c332f xmlns="9fb8f6f6-c949-46d9-93ea-294c9ef25643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1650F0F192D34E99775594949573C8" ma:contentTypeVersion="15" ma:contentTypeDescription="Create a new document." ma:contentTypeScope="" ma:versionID="2e196f92f95550439d9eb9561971bcf3">
  <xsd:schema xmlns:xsd="http://www.w3.org/2001/XMLSchema" xmlns:xs="http://www.w3.org/2001/XMLSchema" xmlns:p="http://schemas.microsoft.com/office/2006/metadata/properties" xmlns:ns2="9fb8f6f6-c949-46d9-93ea-294c9ef25643" xmlns:ns3="c2f7f07c-7d55-49af-96fd-b0bb0992bf9e" targetNamespace="http://schemas.microsoft.com/office/2006/metadata/properties" ma:root="true" ma:fieldsID="73d4d6a01b12e00b7d176d1310de8303" ns2:_="" ns3:_="">
    <xsd:import namespace="9fb8f6f6-c949-46d9-93ea-294c9ef25643"/>
    <xsd:import namespace="c2f7f07c-7d55-49af-96fd-b0bb0992bf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b8f6f6-c949-46d9-93ea-294c9ef256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1c8387f8-82b2-4441-b1a6-93bd58f4799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7f07c-7d55-49af-96fd-b0bb0992bf9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f0dfa714-61aa-4861-a24b-c2639a1810da}" ma:internalName="TaxCatchAll" ma:showField="CatchAllData" ma:web="c2f7f07c-7d55-49af-96fd-b0bb0992bf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5E03C3B-E1A5-43E4-B524-309C4DF134DF}">
  <ds:schemaRefs>
    <ds:schemaRef ds:uri="http://www.w3.org/XML/1998/namespace"/>
    <ds:schemaRef ds:uri="9fb8f6f6-c949-46d9-93ea-294c9ef25643"/>
    <ds:schemaRef ds:uri="http://schemas.microsoft.com/office/2006/documentManagement/types"/>
    <ds:schemaRef ds:uri="http://purl.org/dc/terms/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c2f7f07c-7d55-49af-96fd-b0bb0992bf9e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858798C9-5556-4534-A58B-04B7CC5851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94DAC7-1D4C-48CD-8AEC-6988863D9F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fb8f6f6-c949-46d9-93ea-294c9ef25643"/>
    <ds:schemaRef ds:uri="c2f7f07c-7d55-49af-96fd-b0bb0992bf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187</Words>
  <Application>Microsoft Office PowerPoint</Application>
  <PresentationFormat>Widescreen</PresentationFormat>
  <Paragraphs>13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6" baseType="lpstr">
      <vt:lpstr>Arial</vt:lpstr>
      <vt:lpstr>Calibri</vt:lpstr>
      <vt:lpstr>CenterWell</vt:lpstr>
      <vt:lpstr>think-cell Slide</vt:lpstr>
      <vt:lpstr>PowerPoint Presentation</vt:lpstr>
      <vt:lpstr>Getting started with CenterWell Talking Label</vt:lpstr>
    </vt:vector>
  </TitlesOfParts>
  <Company>HUmana In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lene Baltar</dc:creator>
  <cp:lastModifiedBy>Newjen Yousif</cp:lastModifiedBy>
  <cp:revision>1</cp:revision>
  <dcterms:created xsi:type="dcterms:W3CDTF">2022-11-16T23:05:40Z</dcterms:created>
  <dcterms:modified xsi:type="dcterms:W3CDTF">2023-02-01T12:46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2b6c078-73cb-4371-8a5b-e9fc18accbf8_Enabled">
    <vt:lpwstr>true</vt:lpwstr>
  </property>
  <property fmtid="{D5CDD505-2E9C-101B-9397-08002B2CF9AE}" pid="3" name="MSIP_Label_e2b6c078-73cb-4371-8a5b-e9fc18accbf8_SetDate">
    <vt:lpwstr>2022-11-16T23:05:40Z</vt:lpwstr>
  </property>
  <property fmtid="{D5CDD505-2E9C-101B-9397-08002B2CF9AE}" pid="4" name="MSIP_Label_e2b6c078-73cb-4371-8a5b-e9fc18accbf8_Method">
    <vt:lpwstr>Standard</vt:lpwstr>
  </property>
  <property fmtid="{D5CDD505-2E9C-101B-9397-08002B2CF9AE}" pid="5" name="MSIP_Label_e2b6c078-73cb-4371-8a5b-e9fc18accbf8_Name">
    <vt:lpwstr>INTERNAL</vt:lpwstr>
  </property>
  <property fmtid="{D5CDD505-2E9C-101B-9397-08002B2CF9AE}" pid="6" name="MSIP_Label_e2b6c078-73cb-4371-8a5b-e9fc18accbf8_SiteId">
    <vt:lpwstr>56c62bbe-8598-4b85-9e51-1ca753fa50f2</vt:lpwstr>
  </property>
  <property fmtid="{D5CDD505-2E9C-101B-9397-08002B2CF9AE}" pid="7" name="MSIP_Label_e2b6c078-73cb-4371-8a5b-e9fc18accbf8_ActionId">
    <vt:lpwstr>2eaeb4c7-8dc9-4559-bc26-51015404f3d4</vt:lpwstr>
  </property>
  <property fmtid="{D5CDD505-2E9C-101B-9397-08002B2CF9AE}" pid="8" name="MSIP_Label_e2b6c078-73cb-4371-8a5b-e9fc18accbf8_ContentBits">
    <vt:lpwstr>0</vt:lpwstr>
  </property>
  <property fmtid="{D5CDD505-2E9C-101B-9397-08002B2CF9AE}" pid="9" name="ContentTypeId">
    <vt:lpwstr>0x010100661650F0F192D34E99775594949573C8</vt:lpwstr>
  </property>
</Properties>
</file>